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3" r:id="rId3"/>
  </p:sldMasterIdLst>
  <p:notesMasterIdLst>
    <p:notesMasterId r:id="rId16"/>
  </p:notesMasterIdLst>
  <p:handoutMasterIdLst>
    <p:handoutMasterId r:id="rId17"/>
  </p:handoutMasterIdLst>
  <p:sldIdLst>
    <p:sldId id="272" r:id="rId4"/>
    <p:sldId id="422" r:id="rId5"/>
    <p:sldId id="423" r:id="rId6"/>
    <p:sldId id="418" r:id="rId7"/>
    <p:sldId id="420" r:id="rId8"/>
    <p:sldId id="421" r:id="rId9"/>
    <p:sldId id="411" r:id="rId10"/>
    <p:sldId id="424" r:id="rId11"/>
    <p:sldId id="396" r:id="rId12"/>
    <p:sldId id="378" r:id="rId13"/>
    <p:sldId id="375" r:id="rId14"/>
    <p:sldId id="377" r:id="rId15"/>
  </p:sldIdLst>
  <p:sldSz cx="12192000" cy="6858000"/>
  <p:notesSz cx="7077075" cy="9363075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pos="74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9">
          <p15:clr>
            <a:srgbClr val="A4A3A4"/>
          </p15:clr>
        </p15:guide>
        <p15:guide id="2" pos="222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F81BD"/>
    <a:srgbClr val="3C464D"/>
    <a:srgbClr val="000000"/>
    <a:srgbClr val="DCE6F2"/>
    <a:srgbClr val="1C75BC"/>
    <a:srgbClr val="F2DCDB"/>
    <a:srgbClr val="FAFAFA"/>
    <a:srgbClr val="F4F4F4"/>
    <a:srgbClr val="D996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44" autoAdjust="0"/>
    <p:restoredTop sz="96263" autoAdjust="0"/>
  </p:normalViewPr>
  <p:slideViewPr>
    <p:cSldViewPr snapToGrid="0" showGuides="1">
      <p:cViewPr varScale="1">
        <p:scale>
          <a:sx n="91" d="100"/>
          <a:sy n="91" d="100"/>
        </p:scale>
        <p:origin x="222" y="96"/>
      </p:cViewPr>
      <p:guideLst>
        <p:guide orient="horz"/>
        <p:guide pos="74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8" d="100"/>
        <a:sy n="98" d="100"/>
      </p:scale>
      <p:origin x="0" y="-9618"/>
    </p:cViewPr>
  </p:sorterViewPr>
  <p:notesViewPr>
    <p:cSldViewPr snapToGrid="0" snapToObjects="1">
      <p:cViewPr varScale="1">
        <p:scale>
          <a:sx n="86" d="100"/>
          <a:sy n="86" d="100"/>
        </p:scale>
        <p:origin x="2736" y="108"/>
      </p:cViewPr>
      <p:guideLst>
        <p:guide orient="horz" pos="2949"/>
        <p:guide pos="222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438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D4FC3B-36CC-4CDC-8A46-2795520AC7EC}" type="datetimeFigureOut">
              <a:rPr lang="en-US" smtClean="0"/>
              <a:t>8/8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93175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438" y="8893175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B8295C-E482-4161-9DF6-7A07F6DA5E3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5293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942" y="1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/>
          <a:lstStyle>
            <a:lvl1pPr algn="r">
              <a:defRPr sz="1200"/>
            </a:lvl1pPr>
          </a:lstStyle>
          <a:p>
            <a:fld id="{18AE905A-3C31-4ECB-87DB-AAFEFFFC3D1D}" type="datetimeFigureOut">
              <a:rPr lang="en-US" smtClean="0"/>
              <a:pPr/>
              <a:t>8/8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7513" y="701675"/>
            <a:ext cx="6242050" cy="3511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66" tIns="46433" rIns="92866" bIns="4643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8032" y="4448185"/>
            <a:ext cx="5661013" cy="4213223"/>
          </a:xfrm>
          <a:prstGeom prst="rect">
            <a:avLst/>
          </a:prstGeom>
        </p:spPr>
        <p:txBody>
          <a:bodyPr vert="horz" lIns="92866" tIns="46433" rIns="92866" bIns="4643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93152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942" y="8893152"/>
            <a:ext cx="3066517" cy="468315"/>
          </a:xfrm>
          <a:prstGeom prst="rect">
            <a:avLst/>
          </a:prstGeom>
        </p:spPr>
        <p:txBody>
          <a:bodyPr vert="horz" lIns="92866" tIns="46433" rIns="92866" bIns="46433" rtlCol="0" anchor="b"/>
          <a:lstStyle>
            <a:lvl1pPr algn="r">
              <a:defRPr sz="1200"/>
            </a:lvl1pPr>
          </a:lstStyle>
          <a:p>
            <a:fld id="{B6F2037F-F5EE-442C-8D03-21453C2DE2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5205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9.xml"/><Relationship Id="rId7" Type="http://schemas.openxmlformats.org/officeDocument/2006/relationships/image" Target="../media/image3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1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2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4.xml"/><Relationship Id="rId7" Type="http://schemas.openxmlformats.org/officeDocument/2006/relationships/image" Target="../media/image3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6.xml"/><Relationship Id="rId7" Type="http://schemas.openxmlformats.org/officeDocument/2006/relationships/image" Target="../media/image5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4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4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4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4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4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3400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-12587" y="-1348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US" sz="1800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021875" y="2918899"/>
            <a:ext cx="10148252" cy="763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4400" b="1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828800" y="408808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i="1">
                <a:solidFill>
                  <a:schemeClr val="tx2"/>
                </a:solidFill>
                <a:latin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1625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5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93588" y="6052842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5304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83438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5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93588" y="6078957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549737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48059" y="2436060"/>
            <a:ext cx="4095883" cy="198588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 bwMode="auto">
          <a:xfrm>
            <a:off x="4893589" y="6032336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86284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-12587" y="-1348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021875" y="2918899"/>
            <a:ext cx="10148252" cy="763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4400" b="1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828800" y="408808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i="1">
                <a:solidFill>
                  <a:schemeClr val="tx2"/>
                </a:solidFill>
                <a:latin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532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4947" y="3866861"/>
            <a:ext cx="2118599" cy="1027199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14948" y="2235565"/>
            <a:ext cx="5083673" cy="1070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sz="3200" b="0">
                <a:solidFill>
                  <a:schemeClr val="bg1"/>
                </a:solidFill>
                <a:latin typeface="DIN" pitchFamily="50" charset="0"/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14947" y="2080446"/>
            <a:ext cx="508367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14947" y="3596280"/>
            <a:ext cx="5083673" cy="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14947" y="1394462"/>
            <a:ext cx="5083673" cy="4757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i="0">
                <a:solidFill>
                  <a:schemeClr val="bg1"/>
                </a:solidFill>
                <a:latin typeface="DIN" pitchFamily="50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4893588" y="6052842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33788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4308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tx2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defRPr/>
            </a:pPr>
            <a:fld id="{EE207C0C-704C-4F0F-806A-242341E3EA58}" type="slidenum">
              <a:rPr lang="en-US" sz="90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pPr fontAlgn="base">
                <a:defRPr/>
              </a:pPr>
              <a:t>‹#›</a:t>
            </a:fld>
            <a:r>
              <a:rPr lang="en-US" sz="900" dirty="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t> | </a:t>
            </a:r>
            <a:r>
              <a:rPr lang="en-US" sz="900" dirty="0" smtClean="0">
                <a:solidFill>
                  <a:srgbClr val="3C464D"/>
                </a:solidFill>
                <a:latin typeface="DIN Light" pitchFamily="50" charset="0"/>
              </a:rPr>
              <a:t>CONFIDENTIAL </a:t>
            </a:r>
            <a:r>
              <a:rPr lang="en-US" sz="900" dirty="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t>© Copyright 2014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60336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accent1"/>
              </a:buClr>
              <a:defRPr sz="18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srgbClr val="3C464D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srgbClr val="3C464D"/>
              </a:solidFill>
              <a:latin typeface="DIN Light" pitchFamily="50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 rot="10800000" flipH="1">
            <a:off x="1" y="284285"/>
            <a:ext cx="12095241" cy="685359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rgbClr val="294374">
                  <a:alpha val="0"/>
                </a:srgb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329287"/>
            <a:ext cx="8257693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58842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180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defRPr/>
            </a:pP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fontAlgn="base">
                <a:defRPr/>
              </a:pPr>
              <a:t>‹#›</a:t>
            </a:fld>
            <a:r>
              <a:rPr lang="en-US" sz="900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 | </a:t>
            </a:r>
            <a:r>
              <a:rPr lang="en-US" sz="900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/>
          <p:cNvSpPr txBox="1"/>
          <p:nvPr userDrawn="1"/>
        </p:nvSpPr>
        <p:spPr bwMode="auto">
          <a:xfrm>
            <a:off x="4065797" y="6052842"/>
            <a:ext cx="406040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FOR</a:t>
            </a:r>
            <a:r>
              <a:rPr lang="en-US" sz="2400" b="1" u="sng" baseline="0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 </a:t>
            </a:r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PINECONE USE ONLY </a:t>
            </a:r>
            <a:endParaRPr lang="en-US" sz="2400" b="1" u="sng" dirty="0">
              <a:solidFill>
                <a:schemeClr val="bg1"/>
              </a:solidFill>
              <a:latin typeface="DIN Light" pitchFamily="50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719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85735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4947" y="3866861"/>
            <a:ext cx="2118599" cy="1027199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14948" y="2235565"/>
            <a:ext cx="5083673" cy="1070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sz="3200" b="0">
                <a:solidFill>
                  <a:schemeClr val="bg1"/>
                </a:solidFill>
                <a:latin typeface="DIN" pitchFamily="50" charset="0"/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14947" y="2080446"/>
            <a:ext cx="508367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14947" y="3596280"/>
            <a:ext cx="5083673" cy="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14947" y="1394462"/>
            <a:ext cx="5083673" cy="4757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i="0">
                <a:solidFill>
                  <a:schemeClr val="bg1"/>
                </a:solidFill>
                <a:latin typeface="DIN" pitchFamily="50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4893590" y="6032336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55621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Content Placeholder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899" t="19199" r="63946" b="5723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4065796" y="6052842"/>
            <a:ext cx="406040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FOR</a:t>
            </a:r>
            <a:r>
              <a:rPr lang="en-US" sz="2400" b="1" u="sng" baseline="0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 </a:t>
            </a:r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PINECONE USE ONLY </a:t>
            </a:r>
            <a:endParaRPr lang="en-US" sz="2400" b="1" u="sng" dirty="0">
              <a:solidFill>
                <a:schemeClr val="bg1"/>
              </a:solidFill>
              <a:latin typeface="DIN Light" pitchFamily="50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326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5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93586" y="6052842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29311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93586" y="6052842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27776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93586" y="6052842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99949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48059" y="2436060"/>
            <a:ext cx="4095883" cy="198588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 bwMode="auto">
          <a:xfrm>
            <a:off x="4893586" y="6052842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8023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-12587" y="-1348"/>
            <a:ext cx="12192000" cy="6858000"/>
          </a:xfrm>
          <a:prstGeom prst="rect">
            <a:avLst/>
          </a:prstGeom>
          <a:solidFill>
            <a:schemeClr val="bg1">
              <a:alpha val="63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021875" y="2918899"/>
            <a:ext cx="10148252" cy="763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4400" b="1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828800" y="4088081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i="1">
                <a:solidFill>
                  <a:schemeClr val="tx2"/>
                </a:solidFill>
                <a:latin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81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4947" y="3866861"/>
            <a:ext cx="2118599" cy="1027199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14948" y="2235565"/>
            <a:ext cx="5083673" cy="1070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195" tIns="42597" rIns="85195" bIns="42597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sz="3200" b="0">
                <a:solidFill>
                  <a:schemeClr val="bg1"/>
                </a:solidFill>
                <a:latin typeface="DIN" pitchFamily="50" charset="0"/>
              </a:defRPr>
            </a:lvl1pPr>
          </a:lstStyle>
          <a:p>
            <a:pPr lvl="0"/>
            <a:r>
              <a:rPr lang="en-US" noProof="1" smtClean="0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14947" y="2080446"/>
            <a:ext cx="508367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14947" y="3596280"/>
            <a:ext cx="5083673" cy="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14947" y="1394462"/>
            <a:ext cx="5083673" cy="4757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i="0">
                <a:solidFill>
                  <a:schemeClr val="bg1"/>
                </a:solidFill>
                <a:latin typeface="DIN" pitchFamily="50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4893586" y="6052842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32033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57757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3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tx2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defRPr/>
            </a:pPr>
            <a:fld id="{EE207C0C-704C-4F0F-806A-242341E3EA58}" type="slidenum">
              <a:rPr lang="en-US" sz="90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pPr fontAlgn="base">
                <a:defRPr/>
              </a:pPr>
              <a:t>‹#›</a:t>
            </a:fld>
            <a:r>
              <a:rPr lang="en-US" sz="900" dirty="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t> | </a:t>
            </a:r>
            <a:r>
              <a:rPr lang="en-US" sz="900" dirty="0" smtClean="0">
                <a:solidFill>
                  <a:srgbClr val="3C464D"/>
                </a:solidFill>
                <a:latin typeface="DIN Light" pitchFamily="50" charset="0"/>
              </a:rPr>
              <a:t>CONFIDENTIAL </a:t>
            </a:r>
            <a:r>
              <a:rPr lang="en-US" sz="900" dirty="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t>© Copyright 2014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8197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accent1"/>
              </a:buClr>
              <a:defRPr sz="18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srgbClr val="3C464D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srgbClr val="3C464D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srgbClr val="3C464D"/>
              </a:solidFill>
              <a:latin typeface="DIN Light" pitchFamily="50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 rot="10800000" flipH="1">
            <a:off x="1" y="284285"/>
            <a:ext cx="12095241" cy="685359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rgbClr val="294374">
                  <a:alpha val="0"/>
                </a:srgb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329287"/>
            <a:ext cx="8257693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79802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86303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3872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defRPr/>
            </a:pP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fontAlgn="base">
                <a:defRPr/>
              </a:pPr>
              <a:t>‹#›</a:t>
            </a:fld>
            <a:r>
              <a:rPr lang="en-US" sz="900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 | </a:t>
            </a:r>
            <a:r>
              <a:rPr lang="en-US" sz="900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/>
          <p:cNvSpPr txBox="1"/>
          <p:nvPr userDrawn="1"/>
        </p:nvSpPr>
        <p:spPr bwMode="auto">
          <a:xfrm>
            <a:off x="4893586" y="6052842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2985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Content Placeholder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899" t="19199" r="63946" b="5723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4893586" y="6052842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55206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5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93586" y="6052842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8653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93586" y="6052842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4425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fontAlgn="base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</a:rPr>
              <a:t>CONFIDENTIAL </a:t>
            </a:r>
            <a:r>
              <a:rPr lang="en-US" sz="900" b="1" dirty="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smtClean="0">
                <a:solidFill>
                  <a:prstClr val="white"/>
                </a:solidFill>
                <a:latin typeface="DIN Light" pitchFamily="50" charset="0"/>
                <a:cs typeface="Arial" pitchFamily="34" charset="0"/>
              </a:rPr>
              <a:pPr algn="r" fontAlgn="base">
                <a:defRPr/>
              </a:pPr>
              <a:t>‹#›</a:t>
            </a:fld>
            <a:endParaRPr lang="en-US" sz="900" b="1" dirty="0" smtClean="0">
              <a:solidFill>
                <a:prstClr val="white"/>
              </a:solidFill>
              <a:latin typeface="DIN Light" pitchFamily="50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93586" y="6052842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75069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48059" y="2436060"/>
            <a:ext cx="4095883" cy="198588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 bwMode="auto">
          <a:xfrm>
            <a:off x="4893586" y="6052842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36133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51678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rgbClr val="3C464D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tx2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207C0C-704C-4F0F-806A-242341E3EA58}" type="slidenum">
              <a:rPr lang="en-US" sz="900" b="0" i="0" kern="120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900" b="0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t> | </a:t>
            </a:r>
            <a:r>
              <a:rPr lang="en-US" sz="900" b="0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0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0633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accent1"/>
              </a:buClr>
              <a:defRPr sz="18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accent1"/>
              </a:buClr>
              <a:defRPr sz="1400">
                <a:solidFill>
                  <a:srgbClr val="3C464D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rgbClr val="3C464D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rgbClr val="3C464D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 rot="10800000" flipH="1">
            <a:off x="1" y="284285"/>
            <a:ext cx="12095241" cy="685359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rgbClr val="294374">
                  <a:alpha val="0"/>
                </a:srgb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329287"/>
            <a:ext cx="8257693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5561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defRPr lang="en-US" sz="28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2467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3854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>
          <a:xfrm>
            <a:off x="0" y="2546604"/>
            <a:ext cx="12192000" cy="850392"/>
            <a:chOff x="0" y="2365248"/>
            <a:chExt cx="9144000" cy="850392"/>
          </a:xfrm>
        </p:grpSpPr>
        <p:cxnSp>
          <p:nvCxnSpPr>
            <p:cNvPr id="10" name="Straight Connector 9"/>
            <p:cNvCxnSpPr/>
            <p:nvPr userDrawn="1"/>
          </p:nvCxnSpPr>
          <p:spPr bwMode="gray">
            <a:xfrm>
              <a:off x="0" y="3215640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 bwMode="gray">
            <a:xfrm>
              <a:off x="0" y="2365248"/>
              <a:ext cx="9144000" cy="0"/>
            </a:xfrm>
            <a:prstGeom prst="line">
              <a:avLst/>
            </a:prstGeom>
            <a:ln w="38100">
              <a:solidFill>
                <a:schemeClr val="bg1"/>
              </a:solidFill>
              <a:round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414" y="2668986"/>
            <a:ext cx="12115585" cy="58259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en-US" sz="2800" b="0" cap="small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0" y="6614982"/>
            <a:ext cx="541866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207C0C-704C-4F0F-806A-242341E3EA58}" type="slidenum">
              <a:rPr lang="en-US" sz="900" b="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900" b="0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 | </a:t>
            </a:r>
            <a:r>
              <a:rPr lang="en-US" sz="900" b="0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0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01524" y="72828"/>
            <a:ext cx="1508833" cy="731555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/>
          <p:cNvSpPr txBox="1"/>
          <p:nvPr userDrawn="1"/>
        </p:nvSpPr>
        <p:spPr bwMode="auto">
          <a:xfrm>
            <a:off x="4893587" y="6052842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9379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975103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Content Placeholder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899" t="19199" r="63946" b="5723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4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4893587" y="6052842"/>
            <a:ext cx="24048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31812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208" y="1375646"/>
            <a:ext cx="11379200" cy="4677196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DIN Light" pitchFamily="50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827" y="253334"/>
            <a:ext cx="11506581" cy="582594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algn="l">
              <a:defRPr lang="en-US" sz="3200" b="0" cap="none" baseline="0" dirty="0" smtClean="0">
                <a:solidFill>
                  <a:schemeClr val="bg1"/>
                </a:solidFill>
                <a:latin typeface="DIN" pitchFamily="50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43" y="6187736"/>
            <a:ext cx="1320166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7787536" y="6614982"/>
            <a:ext cx="440446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+mn-cs"/>
              </a:rPr>
              <a:t>CONFIDENTIAL </a:t>
            </a:r>
            <a:r>
              <a:rPr lang="en-US" sz="900" b="1" i="0" kern="1200" dirty="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t>© Copyright 2015 NetSpeed Systems | </a:t>
            </a:r>
            <a:fld id="{EE207C0C-704C-4F0F-806A-242341E3EA58}" type="slidenum">
              <a:rPr lang="en-US" sz="900" i="0" kern="1200" smtClean="0">
                <a:solidFill>
                  <a:schemeClr val="bg1"/>
                </a:solidFill>
                <a:latin typeface="DIN Light" pitchFamily="50" charset="0"/>
                <a:ea typeface="+mn-ea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b="1" i="0" kern="1200" dirty="0" smtClean="0">
              <a:solidFill>
                <a:schemeClr val="bg1"/>
              </a:solidFill>
              <a:latin typeface="DIN Light" pitchFamily="50" charset="0"/>
              <a:ea typeface="+mn-ea"/>
              <a:cs typeface="Arial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 bwMode="auto">
          <a:xfrm>
            <a:off x="4850306" y="6092277"/>
            <a:ext cx="249138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bg1"/>
                </a:solidFill>
                <a:latin typeface="DIN Light" pitchFamily="50" charset="0"/>
                <a:cs typeface="Arial" charset="0"/>
              </a:rPr>
              <a:t>CONFIDENTIAL</a:t>
            </a:r>
            <a:endParaRPr lang="en-US" sz="2400" b="1" u="sng" dirty="0">
              <a:solidFill>
                <a:schemeClr val="bg1"/>
              </a:solidFill>
              <a:latin typeface="DIN Light" pitchFamily="50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364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14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14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6.xml"/><Relationship Id="rId16" Type="http://schemas.openxmlformats.org/officeDocument/2006/relationships/oleObject" Target="../embeddings/oleObject27.bin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32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vmlDrawing" Target="../drawings/vmlDrawing2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3525958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62" name="think-cell Slide" r:id="rId16" imgW="420" imgH="430" progId="TCLayout.ActiveDocument.1">
                  <p:embed/>
                </p:oleObj>
              </mc:Choice>
              <mc:Fallback>
                <p:oleObj name="think-cell Slide" r:id="rId16" imgW="420" imgH="4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8" r:id="rId2"/>
    <p:sldLayoutId id="2147483677" r:id="rId3"/>
    <p:sldLayoutId id="2147483668" r:id="rId4"/>
    <p:sldLayoutId id="2147483671" r:id="rId5"/>
    <p:sldLayoutId id="2147483672" r:id="rId6"/>
    <p:sldLayoutId id="2147483676" r:id="rId7"/>
    <p:sldLayoutId id="2147483667" r:id="rId8"/>
    <p:sldLayoutId id="2147483673" r:id="rId9"/>
    <p:sldLayoutId id="2147483675" r:id="rId10"/>
    <p:sldLayoutId id="2147483674" r:id="rId11"/>
    <p:sldLayoutId id="2147483679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ctr" defTabSz="455785" rtl="0" eaLnBrk="1" fontAlgn="base" hangingPunct="1">
        <a:spcBef>
          <a:spcPct val="0"/>
        </a:spcBef>
        <a:spcAft>
          <a:spcPct val="0"/>
        </a:spcAft>
        <a:defRPr sz="4400" b="0" i="0" u="none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10206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820415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230621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640827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1839" indent="-341839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3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077" indent="-284866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12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523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731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789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42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94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47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8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1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63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1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7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9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6" name="think-cell Slide" r:id="rId16" imgW="420" imgH="430" progId="TCLayout.ActiveDocument.1">
                  <p:embed/>
                </p:oleObj>
              </mc:Choice>
              <mc:Fallback>
                <p:oleObj name="think-cell Slide" r:id="rId16" imgW="420" imgH="4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028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ctr" defTabSz="455785" rtl="0" eaLnBrk="1" fontAlgn="base" hangingPunct="1">
        <a:spcBef>
          <a:spcPct val="0"/>
        </a:spcBef>
        <a:spcAft>
          <a:spcPct val="0"/>
        </a:spcAft>
        <a:defRPr sz="4400" b="0" i="0" u="none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10206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820415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230621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640827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1839" indent="-341839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3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077" indent="-284866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12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523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731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789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42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94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47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8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1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63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1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7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9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18" name="think-cell Slide" r:id="rId16" imgW="420" imgH="430" progId="TCLayout.ActiveDocument.1">
                  <p:embed/>
                </p:oleObj>
              </mc:Choice>
              <mc:Fallback>
                <p:oleObj name="think-cell Slide" r:id="rId16" imgW="420" imgH="4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365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ctr" defTabSz="455785" rtl="0" eaLnBrk="1" fontAlgn="base" hangingPunct="1">
        <a:spcBef>
          <a:spcPct val="0"/>
        </a:spcBef>
        <a:spcAft>
          <a:spcPct val="0"/>
        </a:spcAft>
        <a:defRPr sz="4400" b="0" i="0" u="none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10206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820415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230621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640827" algn="ctr" defTabSz="455785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1839" indent="-341839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3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077" indent="-284866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12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523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731" indent="-227893" algn="l" defTabSz="45578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789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42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94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47" indent="-228526" algn="l" defTabSz="4570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8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1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63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15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7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9" algn="l" defTabSz="457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5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1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2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5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0806" y="2392087"/>
            <a:ext cx="5502111" cy="886245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800" dirty="0" err="1" smtClean="0"/>
              <a:t>NetSpeed</a:t>
            </a:r>
            <a:r>
              <a:rPr lang="en-US" sz="2800" dirty="0" smtClean="0"/>
              <a:t> Orion Low Power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2400" dirty="0" smtClean="0">
                <a:solidFill>
                  <a:srgbClr val="FFC000"/>
                </a:solidFill>
              </a:rPr>
              <a:t>Product Overview Meeting</a:t>
            </a:r>
            <a:endParaRPr lang="en-US" sz="2400" dirty="0">
              <a:solidFill>
                <a:srgbClr val="FFC000"/>
              </a:solidFill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ay 20, 2015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2" t="13768" r="15264" b="16782"/>
          <a:stretch/>
        </p:blipFill>
        <p:spPr>
          <a:xfrm>
            <a:off x="5717059" y="691978"/>
            <a:ext cx="6071287" cy="539431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146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4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-1" y="1046205"/>
            <a:ext cx="12192001" cy="513217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Example: A Simple </a:t>
            </a:r>
            <a:r>
              <a:rPr lang="en-US" dirty="0" err="1" smtClean="0"/>
              <a:t>NoC</a:t>
            </a:r>
            <a:r>
              <a:rPr lang="en-US" dirty="0" smtClean="0"/>
              <a:t> with Power Management</a:t>
            </a:r>
            <a:endParaRPr lang="en-US" sz="2400" dirty="0"/>
          </a:p>
        </p:txBody>
      </p:sp>
      <p:sp>
        <p:nvSpPr>
          <p:cNvPr id="4" name="TextBox 3"/>
          <p:cNvSpPr txBox="1"/>
          <p:nvPr/>
        </p:nvSpPr>
        <p:spPr bwMode="auto">
          <a:xfrm>
            <a:off x="3859344" y="5542384"/>
            <a:ext cx="397078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r>
              <a:rPr lang="en-US" sz="1800" b="1" dirty="0" smtClean="0">
                <a:solidFill>
                  <a:schemeClr val="bg1"/>
                </a:solidFill>
                <a:cs typeface="Arial" charset="0"/>
              </a:rPr>
              <a:t>Simple 1 Master and 2 Slave </a:t>
            </a:r>
            <a:r>
              <a:rPr lang="en-US" sz="1800" b="1" dirty="0" err="1" smtClean="0">
                <a:solidFill>
                  <a:schemeClr val="bg1"/>
                </a:solidFill>
                <a:cs typeface="Arial" charset="0"/>
              </a:rPr>
              <a:t>Config</a:t>
            </a:r>
            <a:endParaRPr lang="en-US" sz="1800" b="1" dirty="0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159" name="Group 158"/>
          <p:cNvGrpSpPr/>
          <p:nvPr/>
        </p:nvGrpSpPr>
        <p:grpSpPr>
          <a:xfrm>
            <a:off x="3108642" y="1533525"/>
            <a:ext cx="5974716" cy="3790950"/>
            <a:chOff x="0" y="-1008485"/>
            <a:chExt cx="5973082" cy="3786582"/>
          </a:xfrm>
        </p:grpSpPr>
        <p:grpSp>
          <p:nvGrpSpPr>
            <p:cNvPr id="160" name="Group 159"/>
            <p:cNvGrpSpPr/>
            <p:nvPr/>
          </p:nvGrpSpPr>
          <p:grpSpPr>
            <a:xfrm>
              <a:off x="0" y="-1008485"/>
              <a:ext cx="5973082" cy="3786582"/>
              <a:chOff x="0" y="-1008485"/>
              <a:chExt cx="5973082" cy="3786582"/>
            </a:xfrm>
          </p:grpSpPr>
          <p:sp>
            <p:nvSpPr>
              <p:cNvPr id="162" name="Rectangle 161"/>
              <p:cNvSpPr>
                <a:spLocks noChangeArrowheads="1"/>
              </p:cNvSpPr>
              <p:nvPr/>
            </p:nvSpPr>
            <p:spPr bwMode="auto">
              <a:xfrm>
                <a:off x="975090" y="-1008485"/>
                <a:ext cx="4004952" cy="3786582"/>
              </a:xfrm>
              <a:prstGeom prst="rect">
                <a:avLst/>
              </a:prstGeom>
              <a:solidFill>
                <a:schemeClr val="bg1"/>
              </a:solidFill>
              <a:ln w="25400" cap="flat" cmpd="sng" algn="ctr">
                <a:solidFill>
                  <a:schemeClr val="tx1">
                    <a:lumMod val="100000"/>
                    <a:lumOff val="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63" name="Rectangle 162"/>
              <p:cNvSpPr>
                <a:spLocks noChangeArrowheads="1"/>
              </p:cNvSpPr>
              <p:nvPr/>
            </p:nvSpPr>
            <p:spPr bwMode="auto">
              <a:xfrm>
                <a:off x="1409700" y="601980"/>
                <a:ext cx="715150" cy="948038"/>
              </a:xfrm>
              <a:prstGeom prst="rect">
                <a:avLst/>
              </a:prstGeom>
              <a:noFill/>
              <a:ln w="25400" cap="flat" cmpd="sng" algn="ctr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kern="120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m0</a:t>
                </a:r>
                <a:endParaRPr lang="en-US" sz="12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cxnSp>
            <p:nvCxnSpPr>
              <p:cNvPr id="164" name="Straight Arrow Connector 198"/>
              <p:cNvCxnSpPr>
                <a:cxnSpLocks noChangeShapeType="1"/>
              </p:cNvCxnSpPr>
              <p:nvPr/>
            </p:nvCxnSpPr>
            <p:spPr bwMode="auto">
              <a:xfrm rot="16200000" flipH="1">
                <a:off x="3093720" y="822960"/>
                <a:ext cx="569214" cy="1644901"/>
              </a:xfrm>
              <a:prstGeom prst="bentConnector2">
                <a:avLst/>
              </a:prstGeom>
              <a:noFill/>
              <a:ln w="3175" cap="flat" cmpd="sng" algn="ctr">
                <a:solidFill>
                  <a:schemeClr val="tx1">
                    <a:lumMod val="100000"/>
                    <a:lumOff val="0"/>
                  </a:schemeClr>
                </a:solidFill>
                <a:prstDash val="solid"/>
                <a:miter lim="800000"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165" name="Oval 164"/>
              <p:cNvSpPr>
                <a:spLocks noChangeArrowheads="1"/>
              </p:cNvSpPr>
              <p:nvPr/>
            </p:nvSpPr>
            <p:spPr bwMode="auto">
              <a:xfrm>
                <a:off x="3764280" y="198120"/>
                <a:ext cx="2208802" cy="1070618"/>
              </a:xfrm>
              <a:prstGeom prst="ellipse">
                <a:avLst/>
              </a:prstGeom>
              <a:noFill/>
              <a:ln w="25400" cap="flat" cmpd="sng" algn="ctr">
                <a:solidFill>
                  <a:schemeClr val="accent2">
                    <a:lumMod val="75000"/>
                    <a:lumOff val="0"/>
                  </a:schemeClr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66" name="Oval 165"/>
              <p:cNvSpPr>
                <a:spLocks noChangeArrowheads="1"/>
              </p:cNvSpPr>
              <p:nvPr/>
            </p:nvSpPr>
            <p:spPr bwMode="auto">
              <a:xfrm>
                <a:off x="1051171" y="76112"/>
                <a:ext cx="2804947" cy="2578302"/>
              </a:xfrm>
              <a:prstGeom prst="ellipse">
                <a:avLst/>
              </a:prstGeom>
              <a:noFill/>
              <a:ln w="25400" cap="flat" cmpd="sng" algn="ctr">
                <a:solidFill>
                  <a:schemeClr val="tx2">
                    <a:lumMod val="60000"/>
                    <a:lumOff val="40000"/>
                  </a:schemeClr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67" name="Oval 166"/>
              <p:cNvSpPr>
                <a:spLocks noChangeArrowheads="1"/>
              </p:cNvSpPr>
              <p:nvPr/>
            </p:nvSpPr>
            <p:spPr bwMode="auto">
              <a:xfrm>
                <a:off x="0" y="518160"/>
                <a:ext cx="817885" cy="1127344"/>
              </a:xfrm>
              <a:prstGeom prst="ellipse">
                <a:avLst/>
              </a:prstGeom>
              <a:noFill/>
              <a:ln w="25400" cap="flat" cmpd="sng" algn="ctr">
                <a:solidFill>
                  <a:schemeClr val="accent6">
                    <a:lumMod val="75000"/>
                    <a:lumOff val="0"/>
                  </a:schemeClr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68" name="Rectangle 167"/>
              <p:cNvSpPr>
                <a:spLocks noChangeArrowheads="1"/>
              </p:cNvSpPr>
              <p:nvPr/>
            </p:nvSpPr>
            <p:spPr bwMode="auto">
              <a:xfrm>
                <a:off x="4183380" y="411480"/>
                <a:ext cx="500548" cy="663757"/>
              </a:xfrm>
              <a:prstGeom prst="rect">
                <a:avLst/>
              </a:prstGeom>
              <a:noFill/>
              <a:ln w="25400" cap="flat" cmpd="sng" algn="ctr">
                <a:solidFill>
                  <a:schemeClr val="accent6">
                    <a:lumMod val="50000"/>
                    <a:lumOff val="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kern="120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s0</a:t>
                </a:r>
                <a:endParaRPr lang="en-US" sz="12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69" name="TextBox 29"/>
              <p:cNvSpPr txBox="1">
                <a:spLocks noChangeArrowheads="1"/>
              </p:cNvSpPr>
              <p:nvPr/>
            </p:nvSpPr>
            <p:spPr bwMode="auto">
              <a:xfrm>
                <a:off x="4580709" y="175295"/>
                <a:ext cx="581660" cy="3498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kern="1200">
                    <a:solidFill>
                      <a:srgbClr val="984806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PD1</a:t>
                </a:r>
                <a:endParaRPr lang="en-US" sz="12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70" name="Rectangle 169"/>
              <p:cNvSpPr>
                <a:spLocks noChangeArrowheads="1"/>
              </p:cNvSpPr>
              <p:nvPr/>
            </p:nvSpPr>
            <p:spPr bwMode="auto">
              <a:xfrm>
                <a:off x="5113020" y="411480"/>
                <a:ext cx="500548" cy="663757"/>
              </a:xfrm>
              <a:prstGeom prst="rect">
                <a:avLst/>
              </a:prstGeom>
              <a:noFill/>
              <a:ln w="25400" cap="flat" cmpd="sng" algn="ctr">
                <a:solidFill>
                  <a:schemeClr val="accent6">
                    <a:lumMod val="50000"/>
                    <a:lumOff val="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kern="120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H2</a:t>
                </a:r>
                <a:endParaRPr lang="en-US" sz="12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71" name="TextBox 28"/>
              <p:cNvSpPr txBox="1">
                <a:spLocks noChangeArrowheads="1"/>
              </p:cNvSpPr>
              <p:nvPr/>
            </p:nvSpPr>
            <p:spPr bwMode="auto">
              <a:xfrm>
                <a:off x="1821180" y="350520"/>
                <a:ext cx="622300" cy="3498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kern="1200">
                    <a:solidFill>
                      <a:srgbClr val="548DD4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PD0</a:t>
                </a:r>
                <a:endParaRPr lang="en-US" sz="12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72" name="Rectangle 171"/>
              <p:cNvSpPr>
                <a:spLocks noChangeArrowheads="1"/>
              </p:cNvSpPr>
              <p:nvPr/>
            </p:nvSpPr>
            <p:spPr bwMode="auto">
              <a:xfrm>
                <a:off x="160020" y="701040"/>
                <a:ext cx="510250" cy="743956"/>
              </a:xfrm>
              <a:prstGeom prst="rect">
                <a:avLst/>
              </a:prstGeom>
              <a:noFill/>
              <a:ln w="25400" cap="flat" cmpd="sng" algn="ctr">
                <a:solidFill>
                  <a:schemeClr val="accent6">
                    <a:lumMod val="75000"/>
                    <a:lumOff val="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kern="120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H1</a:t>
                </a:r>
                <a:endParaRPr lang="en-US" sz="12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73" name="Rectangle 172"/>
              <p:cNvSpPr>
                <a:spLocks noChangeArrowheads="1"/>
              </p:cNvSpPr>
              <p:nvPr/>
            </p:nvSpPr>
            <p:spPr bwMode="auto">
              <a:xfrm>
                <a:off x="2339340" y="792480"/>
                <a:ext cx="429204" cy="568562"/>
              </a:xfrm>
              <a:prstGeom prst="rect">
                <a:avLst/>
              </a:prstGeom>
              <a:noFill/>
              <a:ln w="25400" cap="flat" cmpd="sng" algn="ctr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kern="120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r</a:t>
                </a:r>
                <a:endParaRPr lang="en-US" sz="12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cxnSp>
            <p:nvCxnSpPr>
              <p:cNvPr id="174" name="Straight Arrow Connector 198"/>
              <p:cNvCxnSpPr>
                <a:cxnSpLocks noChangeShapeType="1"/>
              </p:cNvCxnSpPr>
              <p:nvPr/>
            </p:nvCxnSpPr>
            <p:spPr bwMode="auto">
              <a:xfrm flipV="1">
                <a:off x="2766060" y="746760"/>
                <a:ext cx="1420026" cy="331878"/>
              </a:xfrm>
              <a:prstGeom prst="bentConnector3">
                <a:avLst>
                  <a:gd name="adj1" fmla="val 50000"/>
                </a:avLst>
              </a:prstGeom>
              <a:noFill/>
              <a:ln w="3175" cap="flat" cmpd="sng" algn="ctr">
                <a:solidFill>
                  <a:schemeClr val="tx1">
                    <a:lumMod val="100000"/>
                    <a:lumOff val="0"/>
                  </a:schemeClr>
                </a:solidFill>
                <a:prstDash val="solid"/>
                <a:miter lim="800000"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175" name="Straight Arrow Connector 174"/>
              <p:cNvCxnSpPr>
                <a:cxnSpLocks noChangeShapeType="1"/>
              </p:cNvCxnSpPr>
              <p:nvPr/>
            </p:nvCxnSpPr>
            <p:spPr bwMode="auto">
              <a:xfrm>
                <a:off x="670560" y="1074420"/>
                <a:ext cx="737980" cy="1304"/>
              </a:xfrm>
              <a:prstGeom prst="straightConnector1">
                <a:avLst/>
              </a:prstGeom>
              <a:noFill/>
              <a:ln w="3175" cap="flat" cmpd="sng" algn="ctr">
                <a:solidFill>
                  <a:schemeClr val="tx1">
                    <a:lumMod val="100000"/>
                    <a:lumOff val="0"/>
                  </a:schemeClr>
                </a:solidFill>
                <a:prstDash val="sysDot"/>
                <a:round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176" name="Oval 175"/>
              <p:cNvSpPr>
                <a:spLocks noChangeArrowheads="1"/>
              </p:cNvSpPr>
              <p:nvPr/>
            </p:nvSpPr>
            <p:spPr bwMode="auto">
              <a:xfrm>
                <a:off x="3947160" y="1379220"/>
                <a:ext cx="977695" cy="1017152"/>
              </a:xfrm>
              <a:prstGeom prst="ellipse">
                <a:avLst/>
              </a:prstGeom>
              <a:noFill/>
              <a:ln w="25400" cap="flat" cmpd="sng" algn="ctr">
                <a:solidFill>
                  <a:schemeClr val="accent3">
                    <a:lumMod val="75000"/>
                    <a:lumOff val="0"/>
                  </a:schemeClr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7" name="TextBox 65"/>
              <p:cNvSpPr txBox="1">
                <a:spLocks noChangeArrowheads="1"/>
              </p:cNvSpPr>
              <p:nvPr/>
            </p:nvSpPr>
            <p:spPr bwMode="auto">
              <a:xfrm>
                <a:off x="320040" y="213360"/>
                <a:ext cx="622688" cy="3501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kern="1200">
                    <a:solidFill>
                      <a:srgbClr val="E36C0A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PD4</a:t>
                </a:r>
                <a:endParaRPr lang="en-US" sz="12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78" name="TextBox 30"/>
              <p:cNvSpPr txBox="1">
                <a:spLocks noChangeArrowheads="1"/>
              </p:cNvSpPr>
              <p:nvPr/>
            </p:nvSpPr>
            <p:spPr bwMode="auto">
              <a:xfrm>
                <a:off x="4200714" y="1386866"/>
                <a:ext cx="633095" cy="3498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kern="1200">
                    <a:solidFill>
                      <a:srgbClr val="76923C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PD2</a:t>
                </a:r>
                <a:endParaRPr lang="en-US" sz="12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79" name="Oval 178"/>
              <p:cNvSpPr>
                <a:spLocks noChangeArrowheads="1"/>
              </p:cNvSpPr>
              <p:nvPr/>
            </p:nvSpPr>
            <p:spPr bwMode="auto">
              <a:xfrm>
                <a:off x="5128260" y="1455420"/>
                <a:ext cx="786493" cy="948690"/>
              </a:xfrm>
              <a:prstGeom prst="ellipse">
                <a:avLst/>
              </a:prstGeom>
              <a:noFill/>
              <a:ln w="25400" cap="flat" cmpd="sng" algn="ctr">
                <a:solidFill>
                  <a:srgbClr val="FF0000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0" name="TextBox 64"/>
              <p:cNvSpPr txBox="1">
                <a:spLocks noChangeArrowheads="1"/>
              </p:cNvSpPr>
              <p:nvPr/>
            </p:nvSpPr>
            <p:spPr bwMode="auto">
              <a:xfrm>
                <a:off x="4968240" y="1310640"/>
                <a:ext cx="622300" cy="3498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 kern="1200">
                    <a:solidFill>
                      <a:srgbClr val="FF0000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PD3</a:t>
                </a:r>
                <a:endParaRPr lang="en-US" sz="12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81" name="Rectangle 180"/>
              <p:cNvSpPr>
                <a:spLocks noChangeArrowheads="1"/>
              </p:cNvSpPr>
              <p:nvPr/>
            </p:nvSpPr>
            <p:spPr bwMode="auto">
              <a:xfrm>
                <a:off x="4198620" y="1645920"/>
                <a:ext cx="500548" cy="568562"/>
              </a:xfrm>
              <a:prstGeom prst="rect">
                <a:avLst/>
              </a:prstGeom>
              <a:noFill/>
              <a:ln w="25400" cap="flat" cmpd="sng" algn="ctr">
                <a:solidFill>
                  <a:schemeClr val="accent3">
                    <a:lumMod val="75000"/>
                    <a:lumOff val="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kern="120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s1</a:t>
                </a:r>
                <a:endParaRPr lang="en-US" sz="12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82" name="Rectangle 181"/>
              <p:cNvSpPr>
                <a:spLocks noChangeArrowheads="1"/>
              </p:cNvSpPr>
              <p:nvPr/>
            </p:nvSpPr>
            <p:spPr bwMode="auto">
              <a:xfrm>
                <a:off x="5280660" y="1645920"/>
                <a:ext cx="500548" cy="568562"/>
              </a:xfrm>
              <a:prstGeom prst="rect">
                <a:avLst/>
              </a:prstGeom>
              <a:noFill/>
              <a:ln w="25400" cap="flat" cmpd="sng" algn="ctr">
                <a:solidFill>
                  <a:srgbClr val="FF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kern="120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H3</a:t>
                </a:r>
                <a:endParaRPr lang="en-US" sz="12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83" name="Rectangle 182"/>
              <p:cNvSpPr>
                <a:spLocks noChangeArrowheads="1"/>
              </p:cNvSpPr>
              <p:nvPr/>
            </p:nvSpPr>
            <p:spPr bwMode="auto">
              <a:xfrm rot="5400000">
                <a:off x="2513330" y="1828800"/>
                <a:ext cx="594360" cy="22225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>
                    <a:lumMod val="100000"/>
                    <a:lumOff val="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 rot="0" vert="vert" wrap="square" lIns="91440" tIns="45720" rIns="91440" bIns="45720" anchor="ctr" anchorCtr="0" upright="1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 </a:t>
                </a:r>
                <a:endParaRPr lang="en-US" sz="12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184" name="Rectangle 183"/>
              <p:cNvSpPr>
                <a:spLocks noChangeArrowheads="1"/>
              </p:cNvSpPr>
              <p:nvPr/>
            </p:nvSpPr>
            <p:spPr bwMode="auto">
              <a:xfrm rot="5400000">
                <a:off x="2867126" y="1817370"/>
                <a:ext cx="610870" cy="229235"/>
              </a:xfrm>
              <a:prstGeom prst="rect">
                <a:avLst/>
              </a:prstGeom>
              <a:solidFill>
                <a:schemeClr val="bg1"/>
              </a:solidFill>
              <a:ln w="6350" cap="flat" cmpd="sng" algn="ctr">
                <a:solidFill>
                  <a:schemeClr val="tx1">
                    <a:lumMod val="100000"/>
                    <a:lumOff val="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 rot="0" vert="vert" wrap="square" lIns="91440" tIns="45720" rIns="91440" bIns="45720" anchor="ctr" anchorCtr="0" upright="1">
                <a:noAutofit/>
              </a:bodyPr>
              <a:lstStyle/>
              <a:p>
                <a:pPr marL="0" marR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b="1"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 </a:t>
                </a:r>
                <a:endParaRPr lang="en-US" sz="12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cxnSp>
            <p:nvCxnSpPr>
              <p:cNvPr id="185" name="Straight Arrow Connector 184"/>
              <p:cNvCxnSpPr>
                <a:cxnSpLocks noChangeShapeType="1"/>
              </p:cNvCxnSpPr>
              <p:nvPr/>
            </p:nvCxnSpPr>
            <p:spPr bwMode="auto">
              <a:xfrm>
                <a:off x="2125980" y="1074420"/>
                <a:ext cx="228600" cy="1270"/>
              </a:xfrm>
              <a:prstGeom prst="straightConnector1">
                <a:avLst/>
              </a:prstGeom>
              <a:noFill/>
              <a:ln w="3175" cap="flat" cmpd="sng" algn="ctr">
                <a:solidFill>
                  <a:schemeClr val="tx1">
                    <a:lumMod val="100000"/>
                    <a:lumOff val="0"/>
                  </a:schemeClr>
                </a:solidFill>
                <a:prstDash val="sysDot"/>
                <a:round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186" name="Text Box 3"/>
              <p:cNvSpPr txBox="1"/>
              <p:nvPr/>
            </p:nvSpPr>
            <p:spPr>
              <a:xfrm>
                <a:off x="2635250" y="1722120"/>
                <a:ext cx="350520" cy="520065"/>
              </a:xfrm>
              <a:prstGeom prst="rect">
                <a:avLst/>
              </a:prstGeom>
              <a:noFill/>
              <a:ln w="6350">
                <a:noFill/>
              </a:ln>
              <a:effectLst/>
            </p:spPr>
            <p:style>
              <a:lnRef idx="0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vert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600"/>
                  </a:spcAft>
                </a:pPr>
                <a:r>
                  <a:rPr lang="en-US" sz="11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PPLN</a:t>
                </a:r>
                <a:endParaRPr lang="en-US" sz="1100">
                  <a:effectLst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7" name="Text Box 19"/>
              <p:cNvSpPr txBox="1"/>
              <p:nvPr/>
            </p:nvSpPr>
            <p:spPr>
              <a:xfrm>
                <a:off x="3000476" y="1699260"/>
                <a:ext cx="350520" cy="520065"/>
              </a:xfrm>
              <a:prstGeom prst="rect">
                <a:avLst/>
              </a:prstGeom>
              <a:noFill/>
              <a:ln w="6350">
                <a:noFill/>
              </a:ln>
              <a:effectLst/>
            </p:spPr>
            <p:style>
              <a:lnRef idx="0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vert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600"/>
                  </a:spcAft>
                </a:pPr>
                <a:r>
                  <a:rPr lang="en-US" sz="11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PPLN</a:t>
                </a:r>
                <a:endParaRPr lang="en-US" sz="1100">
                  <a:effectLst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cxnSp>
          <p:nvCxnSpPr>
            <p:cNvPr id="161" name="Straight Arrow Connector 160"/>
            <p:cNvCxnSpPr>
              <a:cxnSpLocks noChangeShapeType="1"/>
            </p:cNvCxnSpPr>
            <p:nvPr/>
          </p:nvCxnSpPr>
          <p:spPr bwMode="auto">
            <a:xfrm flipV="1">
              <a:off x="4686300" y="746760"/>
              <a:ext cx="428625" cy="0"/>
            </a:xfrm>
            <a:prstGeom prst="straightConnector1">
              <a:avLst/>
            </a:prstGeom>
            <a:noFill/>
            <a:ln w="3175" cap="flat" cmpd="sng" algn="ctr">
              <a:solidFill>
                <a:schemeClr val="tx1">
                  <a:lumMod val="100000"/>
                  <a:lumOff val="0"/>
                </a:schemeClr>
              </a:solidFill>
              <a:prstDash val="sysDot"/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88" name="Group 187"/>
          <p:cNvGrpSpPr/>
          <p:nvPr/>
        </p:nvGrpSpPr>
        <p:grpSpPr>
          <a:xfrm>
            <a:off x="5959341" y="1760972"/>
            <a:ext cx="1849755" cy="847090"/>
            <a:chOff x="0" y="0"/>
            <a:chExt cx="1849755" cy="847090"/>
          </a:xfrm>
        </p:grpSpPr>
        <p:grpSp>
          <p:nvGrpSpPr>
            <p:cNvPr id="189" name="Group 188"/>
            <p:cNvGrpSpPr/>
            <p:nvPr/>
          </p:nvGrpSpPr>
          <p:grpSpPr>
            <a:xfrm>
              <a:off x="361950" y="371475"/>
              <a:ext cx="1143000" cy="295275"/>
              <a:chOff x="0" y="0"/>
              <a:chExt cx="1143000" cy="295275"/>
            </a:xfrm>
          </p:grpSpPr>
          <p:sp>
            <p:nvSpPr>
              <p:cNvPr id="192" name="Rectangle 191"/>
              <p:cNvSpPr/>
              <p:nvPr/>
            </p:nvSpPr>
            <p:spPr>
              <a:xfrm>
                <a:off x="0" y="0"/>
                <a:ext cx="1143000" cy="295275"/>
              </a:xfrm>
              <a:prstGeom prst="rect">
                <a:avLst/>
              </a:prstGeom>
              <a:noFill/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3" name="Text Box 34"/>
              <p:cNvSpPr txBox="1"/>
              <p:nvPr/>
            </p:nvSpPr>
            <p:spPr>
              <a:xfrm>
                <a:off x="285750" y="9525"/>
                <a:ext cx="604520" cy="276225"/>
              </a:xfrm>
              <a:prstGeom prst="rect">
                <a:avLst/>
              </a:prstGeom>
              <a:noFill/>
              <a:ln w="6350">
                <a:noFill/>
              </a:ln>
              <a:effectLst/>
            </p:spPr>
            <p:style>
              <a:lnRef idx="0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horz" wrap="non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600"/>
                  </a:spcAft>
                </a:pPr>
                <a:r>
                  <a:rPr lang="en-US" sz="120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NSPS</a:t>
                </a:r>
                <a:endParaRPr lang="en-US" sz="1100">
                  <a:effectLst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90" name="Text Box 48"/>
            <p:cNvSpPr txBox="1"/>
            <p:nvPr/>
          </p:nvSpPr>
          <p:spPr>
            <a:xfrm>
              <a:off x="514350" y="47625"/>
              <a:ext cx="926465" cy="285750"/>
            </a:xfrm>
            <a:prstGeom prst="rect">
              <a:avLst/>
            </a:prstGeom>
            <a:solidFill>
              <a:schemeClr val="lt1"/>
            </a:solidFill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non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>
                <a:lnSpc>
                  <a:spcPct val="115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1200" b="1">
                  <a:solidFill>
                    <a:srgbClr val="B2A1C7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PDsystem</a:t>
              </a:r>
              <a:endParaRPr lang="en-US" sz="1100">
                <a:effectLst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91" name="Oval 190"/>
            <p:cNvSpPr/>
            <p:nvPr/>
          </p:nvSpPr>
          <p:spPr>
            <a:xfrm>
              <a:off x="0" y="0"/>
              <a:ext cx="1849755" cy="847090"/>
            </a:xfrm>
            <a:prstGeom prst="ellipse">
              <a:avLst/>
            </a:prstGeom>
            <a:noFill/>
            <a:ln>
              <a:solidFill>
                <a:schemeClr val="accent4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cxnSp>
        <p:nvCxnSpPr>
          <p:cNvPr id="200" name="Straight Arrow Connector 199"/>
          <p:cNvCxnSpPr>
            <a:cxnSpLocks noChangeShapeType="1"/>
            <a:stCxn id="181" idx="3"/>
          </p:cNvCxnSpPr>
          <p:nvPr/>
        </p:nvCxnSpPr>
        <p:spPr bwMode="auto">
          <a:xfrm>
            <a:off x="7809096" y="4475601"/>
            <a:ext cx="563419" cy="9735"/>
          </a:xfrm>
          <a:prstGeom prst="straightConnector1">
            <a:avLst/>
          </a:prstGeom>
          <a:noFill/>
          <a:ln w="3175" cap="flat" cmpd="sng" algn="ctr">
            <a:solidFill>
              <a:schemeClr val="tx1">
                <a:lumMod val="100000"/>
                <a:lumOff val="0"/>
              </a:schemeClr>
            </a:solidFill>
            <a:prstDash val="sysDot"/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987031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-1" y="1046205"/>
            <a:ext cx="12192001" cy="513217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Low Power Flow: Power Intent </a:t>
            </a:r>
            <a:r>
              <a:rPr lang="en-US" dirty="0"/>
              <a:t>S</a:t>
            </a:r>
            <a:r>
              <a:rPr lang="en-US" dirty="0" smtClean="0"/>
              <a:t>pec in </a:t>
            </a:r>
            <a:r>
              <a:rPr lang="en-US" dirty="0" err="1"/>
              <a:t>C</a:t>
            </a:r>
            <a:r>
              <a:rPr lang="en-US" dirty="0" err="1" smtClean="0"/>
              <a:t>onfig</a:t>
            </a:r>
            <a:endParaRPr lang="en-US" sz="2400" dirty="0"/>
          </a:p>
        </p:txBody>
      </p:sp>
      <p:grpSp>
        <p:nvGrpSpPr>
          <p:cNvPr id="4" name="Group 3"/>
          <p:cNvGrpSpPr/>
          <p:nvPr/>
        </p:nvGrpSpPr>
        <p:grpSpPr>
          <a:xfrm>
            <a:off x="944266" y="1104438"/>
            <a:ext cx="9863702" cy="5012355"/>
            <a:chOff x="393130" y="1073134"/>
            <a:chExt cx="9863702" cy="5262979"/>
          </a:xfrm>
        </p:grpSpPr>
        <p:sp>
          <p:nvSpPr>
            <p:cNvPr id="14" name="TextBox 13"/>
            <p:cNvSpPr txBox="1"/>
            <p:nvPr/>
          </p:nvSpPr>
          <p:spPr>
            <a:xfrm>
              <a:off x="393130" y="1073134"/>
              <a:ext cx="5156331" cy="5262979"/>
            </a:xfrm>
            <a:prstGeom prst="rect">
              <a:avLst/>
            </a:prstGeom>
            <a:noFill/>
            <a:ln w="25400">
              <a:solidFill>
                <a:schemeClr val="tx1">
                  <a:alpha val="72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w_mesh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4 4 1 </a:t>
              </a:r>
              <a:r>
                <a:rPr lang="en-US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p_example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gbus_enabled</a:t>
              </a:r>
              <a:endParaRPr lang="en-U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2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sh_prop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w_power_enabled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yes  </a:t>
              </a:r>
              <a:endParaRPr lang="en-U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r>
                <a:rPr lang="en-US" sz="12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_power_domain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D0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_power_domain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D1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_power_domain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D2</a:t>
              </a:r>
            </a:p>
            <a:p>
              <a:r>
                <a:rPr lang="en-US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_power_domain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D3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_power_domain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D4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 </a:t>
              </a:r>
            </a:p>
            <a:p>
              <a:r>
                <a:rPr lang="en-US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_host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0 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…….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2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_traffic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………</a:t>
              </a:r>
            </a:p>
            <a:p>
              <a:r>
                <a:rPr lang="en-US" sz="12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_range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………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 </a:t>
              </a:r>
            </a:p>
            <a:p>
              <a:r>
                <a:rPr lang="en-US" sz="12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idge_prop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0/m </a:t>
              </a:r>
              <a:r>
                <a:rPr lang="en-US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wer_domain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D0</a:t>
              </a:r>
            </a:p>
            <a:p>
              <a:r>
                <a:rPr lang="en-US" sz="12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idge_prop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0/m </a:t>
              </a:r>
              <a:r>
                <a:rPr lang="en-US" sz="12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wer_domain_host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D4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idge_prop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0/s </a:t>
              </a:r>
              <a:r>
                <a:rPr lang="en-US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wer_domain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D1</a:t>
              </a:r>
            </a:p>
            <a:p>
              <a:r>
                <a:rPr lang="en-US" sz="12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idge_prop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0/s </a:t>
              </a:r>
              <a:r>
                <a:rPr lang="en-US" sz="12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wer_domain_host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D1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idge_prop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1/s </a:t>
              </a:r>
              <a:r>
                <a:rPr lang="en-US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wer_domain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D2</a:t>
              </a:r>
            </a:p>
            <a:p>
              <a:r>
                <a:rPr lang="en-US" sz="12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idge_prop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1/s </a:t>
              </a:r>
              <a:r>
                <a:rPr lang="en-US" sz="12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wer_domain_host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D3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 </a:t>
              </a:r>
            </a:p>
            <a:p>
              <a:r>
                <a:rPr lang="en-US" sz="12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_power_profile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0_s0 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D0@ON  PD1@ON  PD4@ON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_power_profile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0_s1 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D0@ON  PD2@ON  PD3@ON  PD4@ON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_power_profile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0_s1 </a:t>
              </a:r>
              <a:r>
                <a:rPr lang="en-US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D0@ON  PD1@ON  PD2@ON  PD3@ON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 </a:t>
              </a:r>
            </a:p>
            <a:p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p</a:t>
              </a:r>
            </a:p>
            <a:p>
              <a:r>
                <a:rPr lang="en-US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une_power</a:t>
              </a: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1 1 </a:t>
              </a:r>
            </a:p>
            <a:p>
              <a:r>
                <a:rPr lang="en-US" sz="120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n_ip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55725" y="1708546"/>
              <a:ext cx="4829451" cy="928984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Line Callout 2 16"/>
            <p:cNvSpPr/>
            <p:nvPr/>
          </p:nvSpPr>
          <p:spPr>
            <a:xfrm>
              <a:off x="6022911" y="1310842"/>
              <a:ext cx="4203440" cy="392058"/>
            </a:xfrm>
            <a:prstGeom prst="borderCallout2">
              <a:avLst>
                <a:gd name="adj1" fmla="val 43975"/>
                <a:gd name="adj2" fmla="val -163"/>
                <a:gd name="adj3" fmla="val 40869"/>
                <a:gd name="adj4" fmla="val -8772"/>
                <a:gd name="adj5" fmla="val 39741"/>
                <a:gd name="adj6" fmla="val -17085"/>
              </a:avLst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022911" y="1307157"/>
              <a:ext cx="42034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w </a:t>
              </a: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wer features </a:t>
              </a:r>
              <a:r>
                <a:rPr lang="en-US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abled.</a:t>
              </a:r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Line Callout 2 18"/>
            <p:cNvSpPr/>
            <p:nvPr/>
          </p:nvSpPr>
          <p:spPr>
            <a:xfrm>
              <a:off x="6032056" y="1940980"/>
              <a:ext cx="4203441" cy="653903"/>
            </a:xfrm>
            <a:prstGeom prst="borderCallout2">
              <a:avLst>
                <a:gd name="adj1" fmla="val 43975"/>
                <a:gd name="adj2" fmla="val -163"/>
                <a:gd name="adj3" fmla="val 36548"/>
                <a:gd name="adj4" fmla="val -8101"/>
                <a:gd name="adj5" fmla="val 31901"/>
                <a:gd name="adj6" fmla="val -16974"/>
              </a:avLst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022911" y="1926710"/>
              <a:ext cx="420344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ates new power domains for </a:t>
              </a:r>
              <a:r>
                <a:rPr lang="en-US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C</a:t>
              </a:r>
              <a:r>
                <a:rPr lang="en-US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lements.</a:t>
              </a:r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Line Callout 2 20"/>
            <p:cNvSpPr/>
            <p:nvPr/>
          </p:nvSpPr>
          <p:spPr>
            <a:xfrm>
              <a:off x="6053392" y="2835280"/>
              <a:ext cx="4203440" cy="914769"/>
            </a:xfrm>
            <a:prstGeom prst="borderCallout2">
              <a:avLst>
                <a:gd name="adj1" fmla="val 43975"/>
                <a:gd name="adj2" fmla="val -163"/>
                <a:gd name="adj3" fmla="val 78522"/>
                <a:gd name="adj4" fmla="val -5101"/>
                <a:gd name="adj5" fmla="val 157337"/>
                <a:gd name="adj6" fmla="val -18019"/>
              </a:avLst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022911" y="2808396"/>
              <a:ext cx="420344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sign created power domains to </a:t>
              </a:r>
              <a:r>
                <a:rPr lang="en-US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C</a:t>
              </a:r>
              <a:r>
                <a:rPr lang="en-US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ridges. </a:t>
              </a: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</a:t>
              </a:r>
              <a:r>
                <a:rPr lang="en-US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st power domain can be set same as bridge.</a:t>
              </a:r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40204" y="3610491"/>
              <a:ext cx="4844973" cy="1183506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440205" y="4961930"/>
              <a:ext cx="4844973" cy="620293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Line Callout 2 24"/>
            <p:cNvSpPr/>
            <p:nvPr/>
          </p:nvSpPr>
          <p:spPr>
            <a:xfrm>
              <a:off x="6032056" y="4038600"/>
              <a:ext cx="4194296" cy="923330"/>
            </a:xfrm>
            <a:prstGeom prst="borderCallout2">
              <a:avLst>
                <a:gd name="adj1" fmla="val 43975"/>
                <a:gd name="adj2" fmla="val -163"/>
                <a:gd name="adj3" fmla="val 72904"/>
                <a:gd name="adj4" fmla="val -6558"/>
                <a:gd name="adj5" fmla="val 131128"/>
                <a:gd name="adj6" fmla="val -17564"/>
              </a:avLst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032056" y="4038600"/>
              <a:ext cx="419429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ates power mode conditions or power state tables. Only bridge power profiles are added.</a:t>
              </a:r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Line Callout 2 26"/>
            <p:cNvSpPr/>
            <p:nvPr/>
          </p:nvSpPr>
          <p:spPr>
            <a:xfrm>
              <a:off x="6032057" y="5368219"/>
              <a:ext cx="4203440" cy="728506"/>
            </a:xfrm>
            <a:prstGeom prst="borderCallout2">
              <a:avLst>
                <a:gd name="adj1" fmla="val 43975"/>
                <a:gd name="adj2" fmla="val -163"/>
                <a:gd name="adj3" fmla="val 70190"/>
                <a:gd name="adj4" fmla="val -9383"/>
                <a:gd name="adj5" fmla="val 94384"/>
                <a:gd name="adj6" fmla="val -17994"/>
              </a:avLst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062537" y="5417927"/>
              <a:ext cx="407032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signs </a:t>
              </a: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wer domains to routers and links based on the power profile </a:t>
              </a:r>
              <a:r>
                <a:rPr lang="en-US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fo.</a:t>
              </a:r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455726" y="1322660"/>
              <a:ext cx="4829450" cy="217953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2" name="Rectangle 31"/>
          <p:cNvSpPr/>
          <p:nvPr/>
        </p:nvSpPr>
        <p:spPr>
          <a:xfrm>
            <a:off x="1006862" y="5748944"/>
            <a:ext cx="4829450" cy="20757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6787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-1" y="1046205"/>
            <a:ext cx="12192001" cy="513217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UPF/CPF Generation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793093" y="1278294"/>
            <a:ext cx="9960766" cy="2523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bg1"/>
                </a:solidFill>
                <a:latin typeface="DIN"/>
              </a:rPr>
              <a:t>Hierarchical 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CPF/UPFs generated with power </a:t>
            </a:r>
            <a:r>
              <a:rPr lang="en-US" sz="2000" dirty="0">
                <a:solidFill>
                  <a:schemeClr val="bg1"/>
                </a:solidFill>
                <a:latin typeface="DIN"/>
              </a:rPr>
              <a:t>i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ntent specification for</a:t>
            </a:r>
            <a:endParaRPr lang="en-US" sz="2000" dirty="0">
              <a:solidFill>
                <a:schemeClr val="bg1"/>
              </a:solidFill>
              <a:latin typeface="DIN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Pre-Simulation </a:t>
            </a:r>
            <a:r>
              <a:rPr lang="en-US" sz="2000" dirty="0">
                <a:solidFill>
                  <a:schemeClr val="bg1"/>
                </a:solidFill>
                <a:latin typeface="DIN"/>
              </a:rPr>
              <a:t>for RTL simulations and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Pre-Synthesis including </a:t>
            </a:r>
            <a:r>
              <a:rPr lang="en-US" sz="2000" dirty="0">
                <a:solidFill>
                  <a:schemeClr val="bg1"/>
                </a:solidFill>
                <a:latin typeface="DIN"/>
              </a:rPr>
              <a:t>v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oltage nets, low power libs</a:t>
            </a:r>
          </a:p>
          <a:p>
            <a:pPr lvl="1"/>
            <a:endParaRPr lang="en-US" sz="2000" dirty="0" smtClean="0">
              <a:solidFill>
                <a:schemeClr val="bg1"/>
              </a:solidFill>
              <a:latin typeface="DIN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Isolation rules with port level information, easier for post-synthesis integration</a:t>
            </a:r>
          </a:p>
          <a:p>
            <a:endParaRPr lang="en-US" sz="2000" dirty="0" smtClean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err="1" smtClean="0">
                <a:solidFill>
                  <a:schemeClr val="bg1"/>
                </a:solidFill>
                <a:latin typeface="DIN"/>
              </a:rPr>
              <a:t>Testbench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 CPF/UPF </a:t>
            </a:r>
            <a:r>
              <a:rPr lang="en-US" sz="2000" dirty="0">
                <a:solidFill>
                  <a:schemeClr val="bg1"/>
                </a:solidFill>
                <a:latin typeface="DIN"/>
              </a:rPr>
              <a:t>for modeling 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host </a:t>
            </a:r>
            <a:r>
              <a:rPr lang="en-US" sz="2000" dirty="0">
                <a:solidFill>
                  <a:schemeClr val="bg1"/>
                </a:solidFill>
                <a:latin typeface="DIN"/>
              </a:rPr>
              <a:t>interface 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power domains (for Sanity </a:t>
            </a:r>
            <a:r>
              <a:rPr lang="en-US" sz="2000" dirty="0">
                <a:solidFill>
                  <a:schemeClr val="bg1"/>
                </a:solidFill>
                <a:latin typeface="DIN"/>
              </a:rPr>
              <a:t>b</a:t>
            </a:r>
            <a:r>
              <a:rPr lang="en-US" sz="2000" dirty="0" smtClean="0">
                <a:solidFill>
                  <a:schemeClr val="bg1"/>
                </a:solidFill>
                <a:latin typeface="DIN"/>
              </a:rPr>
              <a:t>ench)</a:t>
            </a:r>
            <a:endParaRPr lang="en-US" sz="2000" dirty="0">
              <a:solidFill>
                <a:schemeClr val="bg1"/>
              </a:solidFill>
              <a:latin typeface="DIN"/>
            </a:endParaRPr>
          </a:p>
          <a:p>
            <a:endParaRPr lang="en-US" sz="1800" b="1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8394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-1" y="1046205"/>
            <a:ext cx="12192001" cy="513217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Introduction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793105" y="1278294"/>
            <a:ext cx="10421235" cy="5016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NetSpeed Orion supports an extensive set of low power features: clock gating, power gating, and multiple voltage domains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Highly automated: power intent is specified in NocStudio configuration file, low power solution generated automatically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Simple, industry standard power control interface: AMBA Low Power Signaling Interface – Q-channel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NetSpeed Power Supervisor implements a simple state machine to coordinate power sequencing activity among all NoC elements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Fencing and Draining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Auto-Wake-Up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Sleep Request/Sleep Acknowledge (idle state detection and confirmation)</a:t>
            </a:r>
          </a:p>
          <a:p>
            <a:pPr marL="1257300" lvl="2" indent="-342900" algn="just"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chemeClr val="bg1"/>
              </a:solidFill>
              <a:latin typeface="DIN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bg1"/>
                </a:solidFill>
                <a:latin typeface="DIN"/>
              </a:rPr>
              <a:t>Simulation and synthesis supported by automatically generated CPF/UPF files</a:t>
            </a:r>
            <a:endParaRPr lang="en-US" sz="1800" b="1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6084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prstClr val="white"/>
              </a:solidFill>
              <a:latin typeface="DIN" pitchFamily="50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963826" y="2162219"/>
            <a:ext cx="9959547" cy="3694883"/>
          </a:xfrm>
          <a:prstGeom prst="round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prstClr val="white"/>
                </a:solidFill>
              </a:rPr>
              <a:t>NetSpeed Logic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 smtClean="0"/>
              <a:t>Basic Architecture – 3 Layers – Simplify and Abstract NoC Power Control Details</a:t>
            </a:r>
            <a:endParaRPr lang="en-US" sz="2400" dirty="0">
              <a:latin typeface="DIN Light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3756454" y="1204455"/>
            <a:ext cx="3892378" cy="642551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PMU – (SoC Power Control)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3756454" y="2622375"/>
            <a:ext cx="3892378" cy="642551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NetSpeed Power Supervisor (NSPS)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1275284" y="4058986"/>
            <a:ext cx="9201665" cy="1597926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NoC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5694405" y="1847006"/>
            <a:ext cx="8237" cy="775369"/>
          </a:xfrm>
          <a:prstGeom prst="straightConnector1">
            <a:avLst/>
          </a:prstGeom>
          <a:ln w="76200">
            <a:solidFill>
              <a:srgbClr val="FFFF00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099648" y="3264926"/>
            <a:ext cx="8237" cy="775369"/>
          </a:xfrm>
          <a:prstGeom prst="straightConnector1">
            <a:avLst/>
          </a:prstGeom>
          <a:ln w="76200">
            <a:solidFill>
              <a:srgbClr val="FFFF00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5063474" y="3263216"/>
            <a:ext cx="8237" cy="775369"/>
          </a:xfrm>
          <a:prstGeom prst="straightConnector1">
            <a:avLst/>
          </a:prstGeom>
          <a:ln w="76200">
            <a:solidFill>
              <a:srgbClr val="FFFF00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6068217" y="3263216"/>
            <a:ext cx="8237" cy="775369"/>
          </a:xfrm>
          <a:prstGeom prst="straightConnector1">
            <a:avLst/>
          </a:prstGeom>
          <a:ln w="76200">
            <a:solidFill>
              <a:srgbClr val="FFFF00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138344" y="3263216"/>
            <a:ext cx="8237" cy="775369"/>
          </a:xfrm>
          <a:prstGeom prst="straightConnector1">
            <a:avLst/>
          </a:prstGeom>
          <a:ln w="76200">
            <a:solidFill>
              <a:srgbClr val="FFFF00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 bwMode="auto">
          <a:xfrm>
            <a:off x="5794792" y="2159731"/>
            <a:ext cx="464422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r>
              <a:rPr lang="en-US" sz="1800" b="1" dirty="0" smtClean="0">
                <a:solidFill>
                  <a:srgbClr val="FFFF00"/>
                </a:solidFill>
                <a:cs typeface="Arial" charset="0"/>
              </a:rPr>
              <a:t>Q-Channel (1 channel per power domain)</a:t>
            </a:r>
            <a:endParaRPr lang="en-US" sz="1800" b="1" dirty="0">
              <a:solidFill>
                <a:srgbClr val="FFFF00"/>
              </a:solidFill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 bwMode="auto">
          <a:xfrm>
            <a:off x="7240147" y="3559107"/>
            <a:ext cx="310892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FF00"/>
                </a:solidFill>
                <a:cs typeface="Arial" charset="0"/>
              </a:rPr>
              <a:t>Internal NoC Power Control</a:t>
            </a:r>
            <a:endParaRPr lang="en-US" sz="1800" b="1" dirty="0">
              <a:solidFill>
                <a:srgbClr val="FFFF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716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prstClr val="white"/>
                </a:solidFill>
                <a:latin typeface="DIN" pitchFamily="50" charset="0"/>
              </a:rPr>
              <a:t>AMBA Q-Channel Signaling Interface: 4 signals – </a:t>
            </a:r>
            <a:r>
              <a:rPr lang="en-US" sz="2000" dirty="0" err="1" smtClean="0">
                <a:solidFill>
                  <a:prstClr val="white"/>
                </a:solidFill>
                <a:latin typeface="DIN" pitchFamily="50" charset="0"/>
              </a:rPr>
              <a:t>QREQn</a:t>
            </a:r>
            <a:r>
              <a:rPr lang="en-US" sz="2000" dirty="0" smtClean="0">
                <a:solidFill>
                  <a:prstClr val="white"/>
                </a:solidFill>
                <a:latin typeface="DIN" pitchFamily="50" charset="0"/>
              </a:rPr>
              <a:t>, </a:t>
            </a:r>
            <a:r>
              <a:rPr lang="en-US" sz="2000" dirty="0" err="1" smtClean="0">
                <a:solidFill>
                  <a:prstClr val="white"/>
                </a:solidFill>
                <a:latin typeface="DIN" pitchFamily="50" charset="0"/>
              </a:rPr>
              <a:t>QACCEPTn</a:t>
            </a:r>
            <a:r>
              <a:rPr lang="en-US" sz="2000" dirty="0" smtClean="0">
                <a:solidFill>
                  <a:prstClr val="white"/>
                </a:solidFill>
                <a:latin typeface="DIN" pitchFamily="50" charset="0"/>
              </a:rPr>
              <a:t>, QDENY, QACTIVE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err="1" smtClean="0">
                <a:solidFill>
                  <a:prstClr val="white"/>
                </a:solidFill>
                <a:latin typeface="DIN" pitchFamily="50" charset="0"/>
              </a:rPr>
              <a:t>ResetPwrDomain_n</a:t>
            </a:r>
            <a:r>
              <a:rPr lang="en-US" sz="2000" dirty="0" smtClean="0">
                <a:solidFill>
                  <a:prstClr val="white"/>
                </a:solidFill>
                <a:latin typeface="DIN" pitchFamily="50" charset="0"/>
              </a:rPr>
              <a:t>: per domain reset under PMU control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prstClr val="white"/>
                </a:solidFill>
                <a:latin typeface="DIN" pitchFamily="50" charset="0"/>
              </a:rPr>
              <a:t>Power Controls: Integrated via UPF/CPF – isolation, power gating, clock gating enables, level shifters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 smtClean="0"/>
              <a:t>PMU (</a:t>
            </a:r>
            <a:r>
              <a:rPr lang="en-IN" sz="2400" dirty="0" err="1" smtClean="0"/>
              <a:t>SoC</a:t>
            </a:r>
            <a:r>
              <a:rPr lang="en-IN" sz="2400" dirty="0" smtClean="0"/>
              <a:t> Power Control) Interface</a:t>
            </a:r>
            <a:endParaRPr lang="en-US" sz="2400" dirty="0">
              <a:latin typeface="DIN Light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396314" y="2462534"/>
            <a:ext cx="2384854" cy="344399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PMU – (</a:t>
            </a:r>
            <a:r>
              <a:rPr lang="en-US" dirty="0" err="1" smtClean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SoC</a:t>
            </a:r>
            <a:r>
              <a:rPr lang="en-US" dirty="0" smtClean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 Power Control)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8600302" y="2462534"/>
            <a:ext cx="1779375" cy="264080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NetSpeed Power Supervisor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3793524" y="2435698"/>
            <a:ext cx="4819134" cy="409538"/>
            <a:chOff x="3880021" y="2024743"/>
            <a:chExt cx="4819134" cy="409538"/>
          </a:xfrm>
        </p:grpSpPr>
        <p:cxnSp>
          <p:nvCxnSpPr>
            <p:cNvPr id="6" name="Straight Arrow Connector 5"/>
            <p:cNvCxnSpPr/>
            <p:nvPr/>
          </p:nvCxnSpPr>
          <p:spPr>
            <a:xfrm>
              <a:off x="3880021" y="2434281"/>
              <a:ext cx="4819134" cy="0"/>
            </a:xfrm>
            <a:prstGeom prst="straightConnector1">
              <a:avLst/>
            </a:prstGeom>
            <a:ln>
              <a:solidFill>
                <a:srgbClr val="FFFF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 bwMode="auto">
            <a:xfrm>
              <a:off x="5045529" y="2024743"/>
              <a:ext cx="235131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err="1" smtClean="0">
                  <a:solidFill>
                    <a:srgbClr val="FFFF00"/>
                  </a:solidFill>
                  <a:cs typeface="Arial" charset="0"/>
                </a:rPr>
                <a:t>QREQn</a:t>
              </a:r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_&lt;PD&gt;</a:t>
              </a:r>
              <a:endParaRPr lang="en-US" b="1" dirty="0">
                <a:solidFill>
                  <a:srgbClr val="FFFF00"/>
                </a:solidFill>
                <a:cs typeface="Arial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781168" y="2888104"/>
            <a:ext cx="4819134" cy="409538"/>
            <a:chOff x="3903999" y="2650799"/>
            <a:chExt cx="4819134" cy="409538"/>
          </a:xfrm>
        </p:grpSpPr>
        <p:cxnSp>
          <p:nvCxnSpPr>
            <p:cNvPr id="19" name="Straight Arrow Connector 18"/>
            <p:cNvCxnSpPr/>
            <p:nvPr/>
          </p:nvCxnSpPr>
          <p:spPr>
            <a:xfrm>
              <a:off x="3903999" y="3060337"/>
              <a:ext cx="4819134" cy="0"/>
            </a:xfrm>
            <a:prstGeom prst="straightConnector1">
              <a:avLst/>
            </a:prstGeom>
            <a:ln>
              <a:solidFill>
                <a:srgbClr val="FFFF00"/>
              </a:solidFill>
              <a:headEnd type="triangle" w="lg" len="lg"/>
              <a:tail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 bwMode="auto">
            <a:xfrm>
              <a:off x="5069507" y="2650799"/>
              <a:ext cx="235131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err="1" smtClean="0">
                  <a:solidFill>
                    <a:srgbClr val="FFFF00"/>
                  </a:solidFill>
                  <a:cs typeface="Arial" charset="0"/>
                </a:rPr>
                <a:t>QACCEPTn</a:t>
              </a:r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_&lt;PD&gt;</a:t>
              </a:r>
              <a:endParaRPr lang="en-US" b="1" dirty="0">
                <a:solidFill>
                  <a:srgbClr val="FFFF00"/>
                </a:solidFill>
                <a:cs typeface="Arial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781167" y="3855797"/>
            <a:ext cx="4819134" cy="409538"/>
            <a:chOff x="3903999" y="2650799"/>
            <a:chExt cx="4819134" cy="409538"/>
          </a:xfrm>
        </p:grpSpPr>
        <p:cxnSp>
          <p:nvCxnSpPr>
            <p:cNvPr id="23" name="Straight Arrow Connector 22"/>
            <p:cNvCxnSpPr/>
            <p:nvPr/>
          </p:nvCxnSpPr>
          <p:spPr>
            <a:xfrm>
              <a:off x="3903999" y="3060337"/>
              <a:ext cx="4819134" cy="0"/>
            </a:xfrm>
            <a:prstGeom prst="straightConnector1">
              <a:avLst/>
            </a:prstGeom>
            <a:ln>
              <a:solidFill>
                <a:srgbClr val="FFFF00"/>
              </a:solidFill>
              <a:headEnd type="triangle" w="lg" len="lg"/>
              <a:tail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 bwMode="auto">
            <a:xfrm>
              <a:off x="5069507" y="2650799"/>
              <a:ext cx="235131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FFFF00"/>
                  </a:solidFill>
                  <a:cs typeface="Arial" charset="0"/>
                </a:rPr>
                <a:t>Q</a:t>
              </a:r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ACTIVE_&lt;PD&gt;</a:t>
              </a:r>
              <a:endParaRPr lang="en-US" b="1" dirty="0">
                <a:solidFill>
                  <a:srgbClr val="FFFF00"/>
                </a:solidFill>
                <a:cs typeface="Arial" charset="0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3781168" y="3386449"/>
            <a:ext cx="4819134" cy="409538"/>
            <a:chOff x="3903999" y="2650799"/>
            <a:chExt cx="4819134" cy="409538"/>
          </a:xfrm>
        </p:grpSpPr>
        <p:cxnSp>
          <p:nvCxnSpPr>
            <p:cNvPr id="28" name="Straight Arrow Connector 27"/>
            <p:cNvCxnSpPr/>
            <p:nvPr/>
          </p:nvCxnSpPr>
          <p:spPr>
            <a:xfrm>
              <a:off x="3903999" y="3060337"/>
              <a:ext cx="4819134" cy="0"/>
            </a:xfrm>
            <a:prstGeom prst="straightConnector1">
              <a:avLst/>
            </a:prstGeom>
            <a:ln>
              <a:solidFill>
                <a:srgbClr val="FFFF00"/>
              </a:solidFill>
              <a:headEnd type="triangle" w="lg" len="lg"/>
              <a:tail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 bwMode="auto">
            <a:xfrm>
              <a:off x="5069507" y="2650799"/>
              <a:ext cx="235131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QDENY_&lt;PD&gt;</a:t>
              </a:r>
              <a:endParaRPr lang="en-US" b="1" dirty="0">
                <a:solidFill>
                  <a:srgbClr val="FFFF00"/>
                </a:solidFill>
                <a:cs typeface="Arial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781168" y="4443998"/>
            <a:ext cx="4819134" cy="409538"/>
            <a:chOff x="3880021" y="2024743"/>
            <a:chExt cx="4819134" cy="409538"/>
          </a:xfrm>
        </p:grpSpPr>
        <p:cxnSp>
          <p:nvCxnSpPr>
            <p:cNvPr id="25" name="Straight Arrow Connector 24"/>
            <p:cNvCxnSpPr/>
            <p:nvPr/>
          </p:nvCxnSpPr>
          <p:spPr>
            <a:xfrm>
              <a:off x="3880021" y="2434281"/>
              <a:ext cx="4819134" cy="0"/>
            </a:xfrm>
            <a:prstGeom prst="straightConnector1">
              <a:avLst/>
            </a:prstGeom>
            <a:ln>
              <a:solidFill>
                <a:srgbClr val="FFFF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 bwMode="auto">
            <a:xfrm>
              <a:off x="4745730" y="2024743"/>
              <a:ext cx="2968948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smtClean="0">
                  <a:solidFill>
                    <a:srgbClr val="FFFF00"/>
                  </a:solidFill>
                  <a:cs typeface="Arial" charset="0"/>
                </a:rPr>
                <a:t>reset_pd_n</a:t>
              </a:r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_&lt;PD&gt;</a:t>
              </a:r>
              <a:endParaRPr lang="en-US" b="1" dirty="0">
                <a:solidFill>
                  <a:srgbClr val="FFFF00"/>
                </a:solidFill>
                <a:cs typeface="Arial" charset="0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781168" y="5092009"/>
            <a:ext cx="4819134" cy="409539"/>
            <a:chOff x="3880021" y="2024742"/>
            <a:chExt cx="4819134" cy="409539"/>
          </a:xfrm>
        </p:grpSpPr>
        <p:cxnSp>
          <p:nvCxnSpPr>
            <p:cNvPr id="31" name="Straight Arrow Connector 30"/>
            <p:cNvCxnSpPr/>
            <p:nvPr/>
          </p:nvCxnSpPr>
          <p:spPr>
            <a:xfrm>
              <a:off x="3880021" y="2434281"/>
              <a:ext cx="4819134" cy="0"/>
            </a:xfrm>
            <a:prstGeom prst="straightConnector1">
              <a:avLst/>
            </a:prstGeom>
            <a:ln>
              <a:solidFill>
                <a:srgbClr val="FFFF00"/>
              </a:solidFill>
              <a:tailEnd type="triangl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/>
            <p:cNvSpPr txBox="1"/>
            <p:nvPr/>
          </p:nvSpPr>
          <p:spPr bwMode="auto">
            <a:xfrm>
              <a:off x="4127156" y="2024742"/>
              <a:ext cx="442371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rgbClr val="FFFF00"/>
                  </a:solidFill>
                  <a:cs typeface="Arial" charset="0"/>
                </a:rPr>
                <a:t>Isolation, PG, CG enables (via UPF/CPF)</a:t>
              </a:r>
              <a:endParaRPr lang="en-US" b="1" dirty="0">
                <a:solidFill>
                  <a:srgbClr val="FFFF00"/>
                </a:solidFill>
                <a:cs typeface="Arial" charset="0"/>
              </a:endParaRPr>
            </a:p>
          </p:txBody>
        </p:sp>
      </p:grpSp>
      <p:sp>
        <p:nvSpPr>
          <p:cNvPr id="33" name="Rounded Rectangle 32"/>
          <p:cNvSpPr/>
          <p:nvPr/>
        </p:nvSpPr>
        <p:spPr>
          <a:xfrm>
            <a:off x="8600301" y="5177082"/>
            <a:ext cx="1779375" cy="72944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NetSpeed </a:t>
            </a:r>
            <a:r>
              <a:rPr lang="en-US" dirty="0" err="1" smtClean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NoC</a:t>
            </a:r>
            <a:endParaRPr lang="en-US" dirty="0" smtClean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30826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prstClr val="white"/>
              </a:solidFill>
              <a:latin typeface="DIN" pitchFamily="50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22827" y="1065125"/>
            <a:ext cx="11955291" cy="479197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smtClean="0">
              <a:solidFill>
                <a:prstClr val="white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 smtClean="0"/>
              <a:t>PMU Signalling – Power Down Sequence</a:t>
            </a:r>
            <a:endParaRPr lang="en-US" sz="2400" dirty="0">
              <a:latin typeface="DIN Ligh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27" y="1155700"/>
            <a:ext cx="11599273" cy="438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39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 bwMode="auto">
          <a:xfrm>
            <a:off x="0" y="983411"/>
            <a:ext cx="12191999" cy="504645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en-US" sz="2000" dirty="0">
              <a:solidFill>
                <a:prstClr val="white"/>
              </a:solidFill>
              <a:latin typeface="DIN" pitchFamily="50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22827" y="1065125"/>
            <a:ext cx="11955291" cy="479197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smtClean="0">
              <a:solidFill>
                <a:prstClr val="white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dirty="0" smtClean="0"/>
              <a:t>PMU Signalling – Power Up Sequence w/Auto-Wake Request</a:t>
            </a:r>
            <a:endParaRPr lang="en-US" sz="2400" dirty="0">
              <a:latin typeface="DIN Light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27" y="1155700"/>
            <a:ext cx="11578326" cy="438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20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 bwMode="auto">
          <a:xfrm>
            <a:off x="-1" y="1046205"/>
            <a:ext cx="12192001" cy="5132173"/>
          </a:xfrm>
          <a:prstGeom prst="rect">
            <a:avLst/>
          </a:prstGeom>
          <a:gradFill flip="none" rotWithShape="1">
            <a:gsLst>
              <a:gs pos="0">
                <a:srgbClr val="0857AA"/>
              </a:gs>
              <a:gs pos="100000">
                <a:srgbClr val="09213B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NetSpeed Low Power Flow</a:t>
            </a:r>
            <a:endParaRPr lang="en-US" sz="2400" dirty="0">
              <a:solidFill>
                <a:srgbClr val="FFC000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537721" y="2786330"/>
            <a:ext cx="1676400" cy="685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err="1" smtClean="0">
                <a:ln w="19050">
                  <a:solidFill>
                    <a:schemeClr val="bg1"/>
                  </a:solidFill>
                </a:ln>
                <a:solidFill>
                  <a:schemeClr val="bg1"/>
                </a:solidFill>
                <a:latin typeface="DIN"/>
                <a:cs typeface="Arial" panose="020B0604020202020204" pitchFamily="34" charset="0"/>
              </a:rPr>
              <a:t>NocStudio</a:t>
            </a:r>
            <a:endParaRPr lang="en-US" sz="2000" dirty="0">
              <a:ln w="19050">
                <a:solidFill>
                  <a:schemeClr val="bg1"/>
                </a:solidFill>
              </a:ln>
              <a:solidFill>
                <a:schemeClr val="bg1"/>
              </a:solidFill>
              <a:latin typeface="DIN"/>
              <a:cs typeface="Arial" panose="020B0604020202020204" pitchFamily="34" charset="0"/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1371453" y="3910505"/>
            <a:ext cx="4015152" cy="8306"/>
          </a:xfrm>
          <a:prstGeom prst="line">
            <a:avLst/>
          </a:prstGeom>
          <a:ln w="2857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>
            <a:off x="1380656" y="3911645"/>
            <a:ext cx="0" cy="502920"/>
          </a:xfrm>
          <a:prstGeom prst="straightConnector1">
            <a:avLst/>
          </a:prstGeom>
          <a:ln w="28575">
            <a:solidFill>
              <a:schemeClr val="bg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5386605" y="3905420"/>
            <a:ext cx="0" cy="502920"/>
          </a:xfrm>
          <a:prstGeom prst="straightConnector1">
            <a:avLst/>
          </a:prstGeom>
          <a:ln w="28575">
            <a:solidFill>
              <a:schemeClr val="bg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 bwMode="auto">
          <a:xfrm>
            <a:off x="6363479" y="1670186"/>
            <a:ext cx="5085186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r"/>
            <a:r>
              <a:rPr lang="en-US" sz="2000" dirty="0">
                <a:solidFill>
                  <a:schemeClr val="bg1"/>
                </a:solidFill>
                <a:latin typeface="DIN"/>
                <a:cs typeface="Arial" charset="0"/>
              </a:rPr>
              <a:t>I</a:t>
            </a: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nput specification contains power domains and profiles</a:t>
            </a:r>
            <a:endParaRPr lang="en-US" sz="2000" dirty="0">
              <a:solidFill>
                <a:schemeClr val="bg1"/>
              </a:solidFill>
              <a:latin typeface="DIN"/>
              <a:cs typeface="Arial" charset="0"/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2650028" y="3704380"/>
            <a:ext cx="8686800" cy="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 bwMode="auto">
          <a:xfrm>
            <a:off x="4468487" y="2589854"/>
            <a:ext cx="6971144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r"/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Understands </a:t>
            </a:r>
            <a:r>
              <a:rPr lang="en-US" sz="2000" dirty="0">
                <a:solidFill>
                  <a:schemeClr val="bg1"/>
                </a:solidFill>
                <a:latin typeface="DIN"/>
                <a:cs typeface="Arial" charset="0"/>
              </a:rPr>
              <a:t>T</a:t>
            </a: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raffic and Power profiles</a:t>
            </a:r>
          </a:p>
          <a:p>
            <a:pPr algn="r"/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Does analysis/optimization for power domains </a:t>
            </a:r>
          </a:p>
          <a:p>
            <a:pPr algn="r"/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Generates low power collateral </a:t>
            </a:r>
            <a:endParaRPr lang="en-US" sz="2000" dirty="0">
              <a:solidFill>
                <a:schemeClr val="bg1"/>
              </a:solidFill>
              <a:latin typeface="DIN"/>
              <a:cs typeface="Arial" charset="0"/>
            </a:endParaRPr>
          </a:p>
        </p:txBody>
      </p:sp>
      <p:sp>
        <p:nvSpPr>
          <p:cNvPr id="51" name="TextBox 50"/>
          <p:cNvSpPr txBox="1"/>
          <p:nvPr/>
        </p:nvSpPr>
        <p:spPr bwMode="auto">
          <a:xfrm>
            <a:off x="5220512" y="3716679"/>
            <a:ext cx="6203269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r"/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Power Aware Design &amp; </a:t>
            </a:r>
            <a:r>
              <a:rPr lang="en-US" sz="2000" dirty="0" err="1" smtClean="0">
                <a:solidFill>
                  <a:schemeClr val="bg1"/>
                </a:solidFill>
                <a:latin typeface="DIN"/>
                <a:cs typeface="Arial" charset="0"/>
              </a:rPr>
              <a:t>Verif</a:t>
            </a:r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:  </a:t>
            </a:r>
          </a:p>
          <a:p>
            <a:pPr algn="r"/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UPF/CPF - Power Intent </a:t>
            </a:r>
          </a:p>
          <a:p>
            <a:pPr algn="r"/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RTL with LP controls</a:t>
            </a:r>
          </a:p>
          <a:p>
            <a:pPr algn="r"/>
            <a:r>
              <a:rPr lang="en-US" sz="2000" dirty="0" smtClean="0">
                <a:solidFill>
                  <a:schemeClr val="bg1"/>
                </a:solidFill>
                <a:latin typeface="DIN"/>
                <a:cs typeface="Arial" charset="0"/>
              </a:rPr>
              <a:t>Assertions &amp; Checkers</a:t>
            </a:r>
            <a:endParaRPr lang="en-US" sz="2000" dirty="0">
              <a:solidFill>
                <a:schemeClr val="bg1"/>
              </a:solidFill>
              <a:latin typeface="DIN"/>
              <a:cs typeface="Arial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2647157" y="2493804"/>
            <a:ext cx="8686800" cy="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495872" y="4426996"/>
            <a:ext cx="1754968" cy="575928"/>
          </a:xfrm>
          <a:prstGeom prst="roundRect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UPF/CPFs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2505062" y="4430102"/>
            <a:ext cx="1754968" cy="575928"/>
          </a:xfrm>
          <a:prstGeom prst="roundRect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P aware RTL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2547048" y="1670186"/>
            <a:ext cx="1676400" cy="582744"/>
          </a:xfrm>
          <a:prstGeom prst="roundRect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P </a:t>
            </a:r>
            <a:r>
              <a:rPr lang="en-US" dirty="0" err="1" smtClean="0"/>
              <a:t>NoC</a:t>
            </a:r>
            <a:r>
              <a:rPr lang="en-US" dirty="0" smtClean="0"/>
              <a:t> </a:t>
            </a:r>
            <a:r>
              <a:rPr lang="en-US" dirty="0" err="1" smtClean="0"/>
              <a:t>Config</a:t>
            </a:r>
            <a:endParaRPr lang="en-US" dirty="0" smtClean="0"/>
          </a:p>
        </p:txBody>
      </p:sp>
      <p:cxnSp>
        <p:nvCxnSpPr>
          <p:cNvPr id="31" name="Straight Arrow Connector 30"/>
          <p:cNvCxnSpPr/>
          <p:nvPr/>
        </p:nvCxnSpPr>
        <p:spPr>
          <a:xfrm>
            <a:off x="3385252" y="2252930"/>
            <a:ext cx="0" cy="533400"/>
          </a:xfrm>
          <a:prstGeom prst="straightConnector1">
            <a:avLst/>
          </a:prstGeom>
          <a:ln w="25400">
            <a:solidFill>
              <a:schemeClr val="bg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3383635" y="3908537"/>
            <a:ext cx="0" cy="502920"/>
          </a:xfrm>
          <a:prstGeom prst="straightConnector1">
            <a:avLst/>
          </a:prstGeom>
          <a:ln w="28575">
            <a:solidFill>
              <a:schemeClr val="bg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H="1">
            <a:off x="3383635" y="3472130"/>
            <a:ext cx="5634" cy="446681"/>
          </a:xfrm>
          <a:prstGeom prst="straightConnector1">
            <a:avLst/>
          </a:prstGeom>
          <a:ln w="25400">
            <a:solidFill>
              <a:schemeClr val="bg1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ounded Rectangle 35"/>
          <p:cNvSpPr/>
          <p:nvPr/>
        </p:nvSpPr>
        <p:spPr>
          <a:xfrm>
            <a:off x="4509121" y="4448618"/>
            <a:ext cx="1754968" cy="575928"/>
          </a:xfrm>
          <a:prstGeom prst="roundRect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IP</a:t>
            </a:r>
          </a:p>
        </p:txBody>
      </p:sp>
    </p:spTree>
    <p:extLst>
      <p:ext uri="{BB962C8B-B14F-4D97-AF65-F5344CB8AC3E}">
        <p14:creationId xmlns:p14="http://schemas.microsoft.com/office/powerpoint/2010/main" val="56791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NocStudio intelligence and algorithms applied to PM</a:t>
            </a:r>
          </a:p>
          <a:p>
            <a:pPr lvl="1"/>
            <a:r>
              <a:rPr lang="en-US" dirty="0" smtClean="0"/>
              <a:t>NocStudio Traffic Profiles specify communication patterns</a:t>
            </a:r>
          </a:p>
          <a:p>
            <a:pPr lvl="1"/>
            <a:r>
              <a:rPr lang="en-US" dirty="0" smtClean="0"/>
              <a:t>NocStudio Power Profiles specify power domains that are active</a:t>
            </a:r>
          </a:p>
          <a:p>
            <a:pPr lvl="1"/>
            <a:r>
              <a:rPr lang="en-US" dirty="0" smtClean="0"/>
              <a:t>In a given Power Profile, NocStudio knows the NoC elements / domains it does not need ON</a:t>
            </a:r>
          </a:p>
          <a:p>
            <a:pPr lvl="1"/>
            <a:endParaRPr lang="en-US" dirty="0"/>
          </a:p>
          <a:p>
            <a:r>
              <a:rPr lang="en-US" dirty="0" smtClean="0"/>
              <a:t>Power Management using NocStudio</a:t>
            </a:r>
          </a:p>
          <a:p>
            <a:pPr lvl="1"/>
            <a:r>
              <a:rPr lang="en-US" dirty="0" smtClean="0"/>
              <a:t>Tune-power </a:t>
            </a:r>
            <a:r>
              <a:rPr lang="en-US" dirty="0"/>
              <a:t>efficiently assigns </a:t>
            </a:r>
            <a:r>
              <a:rPr lang="en-US" dirty="0" smtClean="0"/>
              <a:t>NoC routers to power </a:t>
            </a:r>
            <a:r>
              <a:rPr lang="en-US" dirty="0"/>
              <a:t>domains </a:t>
            </a:r>
            <a:r>
              <a:rPr lang="en-US" dirty="0" smtClean="0"/>
              <a:t>to…</a:t>
            </a:r>
          </a:p>
          <a:p>
            <a:pPr lvl="2"/>
            <a:r>
              <a:rPr lang="en-US" sz="1800" dirty="0" smtClean="0"/>
              <a:t>Minimize leakage power</a:t>
            </a:r>
          </a:p>
          <a:p>
            <a:pPr lvl="2"/>
            <a:r>
              <a:rPr lang="en-US" sz="1800" dirty="0" smtClean="0"/>
              <a:t>Minimize physical design complexity</a:t>
            </a:r>
          </a:p>
          <a:p>
            <a:pPr lvl="2"/>
            <a:r>
              <a:rPr lang="en-US" sz="1800" dirty="0" smtClean="0"/>
              <a:t>Minimize traffic interdependencies and disruptions</a:t>
            </a:r>
          </a:p>
          <a:p>
            <a:pPr marL="457211" lvl="1" indent="0">
              <a:buNone/>
            </a:pPr>
            <a:endParaRPr lang="en-US" dirty="0" smtClean="0"/>
          </a:p>
          <a:p>
            <a:pPr marL="457211" lvl="1" indent="0">
              <a:buNone/>
            </a:pPr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NetSpeed Solution Simplifies the Power Management </a:t>
            </a:r>
            <a:r>
              <a:rPr lang="en-US" dirty="0"/>
              <a:t>P</a:t>
            </a:r>
            <a:r>
              <a:rPr lang="en-US" dirty="0" smtClean="0"/>
              <a:t>robl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78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0" y="1035170"/>
            <a:ext cx="12192000" cy="5132717"/>
          </a:xfr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16200000" scaled="1"/>
            <a:tileRect/>
          </a:gradFill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 err="1" smtClean="0">
                <a:latin typeface="DIN" pitchFamily="50" charset="0"/>
              </a:rPr>
              <a:t>NocStudio</a:t>
            </a:r>
            <a:r>
              <a:rPr lang="en-US" dirty="0" smtClean="0">
                <a:latin typeface="DIN" pitchFamily="50" charset="0"/>
              </a:rPr>
              <a:t> creates routers while synthesizing the network </a:t>
            </a:r>
            <a:endParaRPr lang="en-US" dirty="0">
              <a:latin typeface="DIN" pitchFamily="50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latin typeface="DIN" pitchFamily="50" charset="0"/>
              </a:rPr>
              <a:t>‘Tune power’ is a </a:t>
            </a:r>
            <a:r>
              <a:rPr lang="en-US" dirty="0" err="1" smtClean="0">
                <a:latin typeface="DIN" pitchFamily="50" charset="0"/>
              </a:rPr>
              <a:t>NocStudio</a:t>
            </a:r>
            <a:r>
              <a:rPr lang="en-US" dirty="0" smtClean="0">
                <a:latin typeface="DIN" pitchFamily="50" charset="0"/>
              </a:rPr>
              <a:t> optimization which auto assigns power domains to routers</a:t>
            </a:r>
            <a:endParaRPr lang="en-US" dirty="0">
              <a:latin typeface="DIN" pitchFamily="50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latin typeface="DIN" pitchFamily="50" charset="0"/>
              </a:rPr>
              <a:t>Auto-assignment is based on adjacency, hardware cost, and on required traffic flows</a:t>
            </a:r>
            <a:endParaRPr lang="en-US" dirty="0">
              <a:latin typeface="DIN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une </a:t>
            </a:r>
            <a:r>
              <a:rPr lang="en-US" dirty="0"/>
              <a:t>P</a:t>
            </a:r>
            <a:r>
              <a:rPr lang="en-US" dirty="0" smtClean="0"/>
              <a:t>ower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313112" y="2768632"/>
            <a:ext cx="7564131" cy="3356207"/>
            <a:chOff x="1726514" y="2768632"/>
            <a:chExt cx="7564131" cy="3356207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26514" y="2768632"/>
              <a:ext cx="3319939" cy="3351739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17995" y="2771152"/>
              <a:ext cx="3272650" cy="3353687"/>
            </a:xfrm>
            <a:prstGeom prst="rect">
              <a:avLst/>
            </a:prstGeom>
          </p:spPr>
        </p:pic>
      </p:grpSp>
      <p:sp>
        <p:nvSpPr>
          <p:cNvPr id="9" name="Right Arrow 8"/>
          <p:cNvSpPr/>
          <p:nvPr/>
        </p:nvSpPr>
        <p:spPr>
          <a:xfrm>
            <a:off x="5640588" y="4669972"/>
            <a:ext cx="964005" cy="244928"/>
          </a:xfrm>
          <a:prstGeom prst="rightArrow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une</a:t>
            </a:r>
          </a:p>
          <a:p>
            <a:pPr algn="ctr"/>
            <a:endParaRPr lang="en-US" dirty="0"/>
          </a:p>
          <a:p>
            <a:pPr algn="ctr"/>
            <a:r>
              <a:rPr lang="en-US" dirty="0" smtClean="0"/>
              <a:t>power</a:t>
            </a:r>
          </a:p>
        </p:txBody>
      </p:sp>
    </p:spTree>
    <p:extLst>
      <p:ext uri="{BB962C8B-B14F-4D97-AF65-F5344CB8AC3E}">
        <p14:creationId xmlns:p14="http://schemas.microsoft.com/office/powerpoint/2010/main" val="1293653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2"/>
  <p:tag name="MMPROD_UIDATA" val="&lt;database version=&quot;9.0&quot;&gt;&lt;object type=&quot;1&quot; unique_id=&quot;10001&quot;&gt;&lt;object type=&quot;2&quot; unique_id=&quot;42456&quot;&gt;&lt;object type=&quot;3&quot; unique_id=&quot;52255&quot;&gt;&lt;property id=&quot;20148&quot; value=&quot;5&quot;/&gt;&lt;property id=&quot;20300&quot; value=&quot;Slide 1 - &amp;quot;NetSpeed Systems Executive Summary&amp;quot;&quot;/&gt;&lt;property id=&quot;20307&quot; value=&quot;256&quot;/&gt;&lt;/object&gt;&lt;object type=&quot;3&quot; unique_id=&quot;129440&quot;&gt;&lt;property id=&quot;20148&quot; value=&quot;5&quot;/&gt;&lt;property id=&quot;20300&quot; value=&quot;Slide 2 - &amp;quot;NetSpeed Systems Company Overview&amp;quot;&quot;/&gt;&lt;property id=&quot;20307&quot; value=&quot;266&quot;/&gt;&lt;/object&gt;&lt;object type=&quot;3&quot; unique_id=&quot;129441&quot;&gt;&lt;property id=&quot;20148&quot; value=&quot;5&quot;/&gt;&lt;property id=&quot;20300&quot; value=&quot;Slide 3 - &amp;quot;NetSpeed: Next Step In Evolution of Interconnects&amp;quot;&quot;/&gt;&lt;property id=&quot;20307&quot; value=&quot;267&quot;/&gt;&lt;/object&gt;&lt;object type=&quot;3&quot; unique_id=&quot;129735&quot;&gt;&lt;property id=&quot;20148&quot; value=&quot;5&quot;/&gt;&lt;property id=&quot;20300&quot; value=&quot;Slide 5 - &amp;quot;Product Overview: Scalable, Coherent, NoC IP&amp;quot;&quot;/&gt;&lt;property id=&quot;20307&quot; value=&quot;272&quot;/&gt;&lt;/object&gt;&lt;object type=&quot;3&quot; unique_id=&quot;129904&quot;&gt;&lt;property id=&quot;20148&quot; value=&quot;5&quot;/&gt;&lt;property id=&quot;20300&quot; value=&quot;Slide 8 - &amp;quot;50% Shorter Design Cycles&amp;quot;&quot;/&gt;&lt;property id=&quot;20307&quot; value=&quot;273&quot;/&gt;&lt;/object&gt;&lt;object type=&quot;3&quot; unique_id=&quot;129905&quot;&gt;&lt;property id=&quot;20148&quot; value=&quot;5&quot;/&gt;&lt;property id=&quot;20300&quot; value=&quot;Slide 9 - &amp;quot;High Performance, Coherent NoC&amp;quot;&quot;/&gt;&lt;property id=&quot;20307&quot; value=&quot;274&quot;/&gt;&lt;/object&gt;&lt;object type=&quot;3&quot; unique_id=&quot;129906&quot;&gt;&lt;property id=&quot;20148&quot; value=&quot;5&quot;/&gt;&lt;property id=&quot;20300&quot; value=&quot;Slide 10 - &amp;quot;Advanced Features To Enable Low Power Design&amp;quot;&quot;/&gt;&lt;property id=&quot;20307&quot; value=&quot;275&quot;/&gt;&lt;/object&gt;&lt;object type=&quot;3&quot; unique_id=&quot;130053&quot;&gt;&lt;property id=&quot;20148&quot; value=&quot;5&quot;/&gt;&lt;property id=&quot;20300&quot; value=&quot;Slide 11 - &amp;quot;Summary&amp;quot;&quot;/&gt;&lt;property id=&quot;20307&quot; value=&quot;281&quot;/&gt;&lt;/object&gt;&lt;object type=&quot;3&quot; unique_id=&quot;130142&quot;&gt;&lt;property id=&quot;20148&quot; value=&quot;5&quot;/&gt;&lt;property id=&quot;20300&quot; value=&quot;Slide 7 - &amp;quot;Product Benefits: NetSpeed Value Proposition&amp;quot;&quot;/&gt;&lt;property id=&quot;20307&quot; value=&quot;283&quot;/&gt;&lt;/object&gt;&lt;object type=&quot;3&quot; unique_id=&quot;130240&quot;&gt;&lt;property id=&quot;20148&quot; value=&quot;5&quot;/&gt;&lt;property id=&quot;20300&quot; value=&quot;Slide 6 - &amp;quot;On-Chip Interconnect Solutions Comparison&amp;quot;&quot;/&gt;&lt;property id=&quot;20307&quot; value=&quot;284&quot;/&gt;&lt;/object&gt;&lt;object type=&quot;3&quot; unique_id=&quot;130411&quot;&gt;&lt;property id=&quot;20148&quot; value=&quot;5&quot;/&gt;&lt;property id=&quot;20300&quot; value=&quot;Slide 4 - &amp;quot;Ushering a Paradigm Shift in Interconnect Design&amp;quot;&quot;/&gt;&lt;property id=&quot;20307&quot; value=&quot;285&quot;/&gt;&lt;/object&gt;&lt;/object&gt;&lt;object type=&quot;8&quot; unique_id=&quot;42462&quot;&gt;&lt;/object&gt;&lt;/object&gt;&lt;/database&gt;"/>
  <p:tag name="SECTOMILLISECCONVERTED" val="1"/>
  <p:tag name="THINKCELLUNDODONOTDELETE" val="0"/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5&quot;&gt;&lt;elem m_fUsage=&quot;2.77254417167100090000E+000&quot;&gt;&lt;m_msothmcolidx val=&quot;0&quot;/&gt;&lt;m_rgb r=&quot;3c&quot; g=&quot;46&quot; b=&quot;4d&quot;/&gt;&lt;m_ppcolschidx tagver0=&quot;23004&quot; tagname0=&quot;m_ppcolschidxUNRECOGNIZED&quot; val=&quot;0&quot;/&gt;&lt;m_nBrightness val=&quot;0&quot;/&gt;&lt;/elem&gt;&lt;elem m_fUsage=&quot;2.62900000000000000000E+000&quot;&gt;&lt;m_msothmcolidx val=&quot;0&quot;/&gt;&lt;m_rgb r=&quot;77&quot; g=&quot;93&quot; b=&quot;3c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9b&quot; g=&quot;bb&quot; b=&quot;59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ed&quot; g=&quot;8f&quot; b=&quot;12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ff&quot; g=&quot;b6&quot; b=&quot;0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>
          <a:defRPr sz="1800" b="1" dirty="0"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Speed-Template" id="{130F1D69-3A6E-4A55-B981-5513596D9C08}" vid="{8DF30442-800D-46B0-9C9A-4126DC4A4FE7}"/>
    </a:ext>
  </a:extLst>
</a:theme>
</file>

<file path=ppt/theme/theme2.xml><?xml version="1.0" encoding="utf-8"?>
<a:theme xmlns:a="http://schemas.openxmlformats.org/drawingml/2006/main" name="1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>
          <a:defRPr sz="1800" b="1" dirty="0"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Speed-Template" id="{130F1D69-3A6E-4A55-B981-5513596D9C08}" vid="{8DF30442-800D-46B0-9C9A-4126DC4A4FE7}"/>
    </a:ext>
  </a:extLst>
</a:theme>
</file>

<file path=ppt/theme/theme3.xml><?xml version="1.0" encoding="utf-8"?>
<a:theme xmlns:a="http://schemas.openxmlformats.org/drawingml/2006/main" name="2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>
          <a:defRPr sz="1800" b="1" dirty="0"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Speed-Template" id="{130F1D69-3A6E-4A55-B981-5513596D9C08}" vid="{8DF30442-800D-46B0-9C9A-4126DC4A4FE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2220</TotalTime>
  <Words>579</Words>
  <Application>Microsoft Office PowerPoint</Application>
  <PresentationFormat>Widescreen</PresentationFormat>
  <Paragraphs>130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Calibri</vt:lpstr>
      <vt:lpstr>DIN</vt:lpstr>
      <vt:lpstr>DIN Light</vt:lpstr>
      <vt:lpstr>Times New Roman</vt:lpstr>
      <vt:lpstr>Trebuchet MS</vt:lpstr>
      <vt:lpstr>Wingdings</vt:lpstr>
      <vt:lpstr>blank</vt:lpstr>
      <vt:lpstr>1_blank</vt:lpstr>
      <vt:lpstr>2_blank</vt:lpstr>
      <vt:lpstr>think-cell Slide</vt:lpstr>
      <vt:lpstr>NetSpeed Orion Low Power Product Overview Meeting</vt:lpstr>
      <vt:lpstr>Introduction</vt:lpstr>
      <vt:lpstr>Basic Architecture – 3 Layers – Simplify and Abstract NoC Power Control Details</vt:lpstr>
      <vt:lpstr>PMU (SoC Power Control) Interface</vt:lpstr>
      <vt:lpstr>PMU Signalling – Power Down Sequence</vt:lpstr>
      <vt:lpstr>PMU Signalling – Power Up Sequence w/Auto-Wake Request</vt:lpstr>
      <vt:lpstr>NetSpeed Low Power Flow</vt:lpstr>
      <vt:lpstr>NetSpeed Solution Simplifies the Power Management Problem</vt:lpstr>
      <vt:lpstr>Tune Power</vt:lpstr>
      <vt:lpstr>Example: A Simple NoC with Power Management</vt:lpstr>
      <vt:lpstr>Low Power Flow: Power Intent Spec in Config</vt:lpstr>
      <vt:lpstr>UPF/CPF Gener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tSpeed Systems Corporate Overview</dc:title>
  <dc:creator>anush</dc:creator>
  <cp:lastModifiedBy>Jim Bauman</cp:lastModifiedBy>
  <cp:revision>746</cp:revision>
  <cp:lastPrinted>2014-02-18T22:44:09Z</cp:lastPrinted>
  <dcterms:created xsi:type="dcterms:W3CDTF">2014-06-19T21:53:40Z</dcterms:created>
  <dcterms:modified xsi:type="dcterms:W3CDTF">2015-08-09T05:18:22Z</dcterms:modified>
</cp:coreProperties>
</file>